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20"/>
  </p:notesMasterIdLst>
  <p:sldIdLst>
    <p:sldId id="350" r:id="rId2"/>
    <p:sldId id="270" r:id="rId3"/>
    <p:sldId id="387" r:id="rId4"/>
    <p:sldId id="385" r:id="rId5"/>
    <p:sldId id="384" r:id="rId6"/>
    <p:sldId id="386" r:id="rId7"/>
    <p:sldId id="388" r:id="rId8"/>
    <p:sldId id="398" r:id="rId9"/>
    <p:sldId id="399" r:id="rId10"/>
    <p:sldId id="370" r:id="rId11"/>
    <p:sldId id="393" r:id="rId12"/>
    <p:sldId id="392" r:id="rId13"/>
    <p:sldId id="400" r:id="rId14"/>
    <p:sldId id="394" r:id="rId15"/>
    <p:sldId id="395" r:id="rId16"/>
    <p:sldId id="401" r:id="rId17"/>
    <p:sldId id="390" r:id="rId18"/>
    <p:sldId id="396" r:id="rId19"/>
  </p:sldIdLst>
  <p:sldSz cx="9144000" cy="5143500" type="screen16x9"/>
  <p:notesSz cx="7104063" cy="10234613"/>
  <p:defaultTextStyle>
    <a:defPPr>
      <a:defRPr lang="de-DE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BFE9420-62BF-4E66-A300-498C6267EEA5}" v="86" dt="2022-10-25T12:12:11.20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52" d="100"/>
          <a:sy n="52" d="100"/>
        </p:scale>
        <p:origin x="68" y="70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microsoft.com/office/2015/10/relationships/revisionInfo" Target="revisionInfo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78427" cy="513508"/>
          </a:xfrm>
          <a:prstGeom prst="rect">
            <a:avLst/>
          </a:prstGeom>
        </p:spPr>
        <p:txBody>
          <a:bodyPr vert="horz" lIns="99066" tIns="49533" rIns="99066" bIns="49533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66" tIns="49533" rIns="99066" bIns="49533" rtlCol="0"/>
          <a:lstStyle>
            <a:lvl1pPr algn="r">
              <a:defRPr sz="1300"/>
            </a:lvl1pPr>
          </a:lstStyle>
          <a:p>
            <a:fld id="{0F2728AD-B8FF-467B-AF5F-4891412E46D0}" type="datetimeFigureOut">
              <a:rPr lang="de-DE" smtClean="0"/>
              <a:t>25.10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81013" y="1279525"/>
            <a:ext cx="6142037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66" tIns="49533" rIns="99066" bIns="49533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10407" y="4925408"/>
            <a:ext cx="5683250" cy="4029879"/>
          </a:xfrm>
          <a:prstGeom prst="rect">
            <a:avLst/>
          </a:prstGeom>
        </p:spPr>
        <p:txBody>
          <a:bodyPr vert="horz" lIns="99066" tIns="49533" rIns="99066" bIns="49533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721108"/>
            <a:ext cx="3078427" cy="513507"/>
          </a:xfrm>
          <a:prstGeom prst="rect">
            <a:avLst/>
          </a:prstGeom>
        </p:spPr>
        <p:txBody>
          <a:bodyPr vert="horz" lIns="99066" tIns="49533" rIns="99066" bIns="49533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3992" y="9721108"/>
            <a:ext cx="3078427" cy="513507"/>
          </a:xfrm>
          <a:prstGeom prst="rect">
            <a:avLst/>
          </a:prstGeom>
        </p:spPr>
        <p:txBody>
          <a:bodyPr vert="horz" lIns="99066" tIns="49533" rIns="99066" bIns="49533" rtlCol="0" anchor="b"/>
          <a:lstStyle>
            <a:lvl1pPr algn="r">
              <a:defRPr sz="1300"/>
            </a:lvl1pPr>
          </a:lstStyle>
          <a:p>
            <a:fld id="{B9A045E6-D734-4DB2-BEE5-DF972DD20CA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65023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061988-3118-414D-A571-26E5ECCCF074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477745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68000" y="4230000"/>
            <a:ext cx="7560000" cy="324000"/>
          </a:xfrm>
        </p:spPr>
        <p:txBody>
          <a:bodyPr/>
          <a:lstStyle>
            <a:lvl1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1pPr>
            <a:lvl2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2pPr>
            <a:lvl3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3pPr>
            <a:lvl4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4pPr>
            <a:lvl5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5pPr>
            <a:lvl6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6pPr>
            <a:lvl7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7pPr>
            <a:lvl8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8pPr>
            <a:lvl9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>
          <a:xfrm>
            <a:off x="468000" y="4680000"/>
            <a:ext cx="7560000" cy="144000"/>
          </a:xfrm>
        </p:spPr>
        <p:txBody>
          <a:bodyPr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endParaRPr lang="de-DE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70D81F06-1D47-4C44-8C29-89662B0E161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68000" y="3499200"/>
            <a:ext cx="2505600" cy="173898"/>
          </a:xfrm>
          <a:prstGeom prst="rect">
            <a:avLst/>
          </a:prstGeom>
        </p:spPr>
      </p:pic>
      <p:sp>
        <p:nvSpPr>
          <p:cNvPr id="22" name="Bildplatzhalter 21">
            <a:extLst>
              <a:ext uri="{FF2B5EF4-FFF2-40B4-BE49-F238E27FC236}">
                <a16:creationId xmlns:a16="http://schemas.microsoft.com/office/drawing/2014/main" id="{84C7B36F-18FD-48F5-9A0D-FC40AEE68D0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-1"/>
            <a:ext cx="8182800" cy="3186000"/>
          </a:xfrm>
          <a:custGeom>
            <a:avLst/>
            <a:gdLst>
              <a:gd name="connsiteX0" fmla="*/ 0 w 8182800"/>
              <a:gd name="connsiteY0" fmla="*/ 0 h 3186000"/>
              <a:gd name="connsiteX1" fmla="*/ 8182800 w 8182800"/>
              <a:gd name="connsiteY1" fmla="*/ 0 h 3186000"/>
              <a:gd name="connsiteX2" fmla="*/ 8182800 w 8182800"/>
              <a:gd name="connsiteY2" fmla="*/ 1 h 3186000"/>
              <a:gd name="connsiteX3" fmla="*/ 7225201 w 8182800"/>
              <a:gd name="connsiteY3" fmla="*/ 1 h 3186000"/>
              <a:gd name="connsiteX4" fmla="*/ 7225201 w 8182800"/>
              <a:gd name="connsiteY4" fmla="*/ 1440001 h 3186000"/>
              <a:gd name="connsiteX5" fmla="*/ 8182800 w 8182800"/>
              <a:gd name="connsiteY5" fmla="*/ 1440001 h 3186000"/>
              <a:gd name="connsiteX6" fmla="*/ 8182800 w 8182800"/>
              <a:gd name="connsiteY6" fmla="*/ 3186000 h 3186000"/>
              <a:gd name="connsiteX7" fmla="*/ 0 w 8182800"/>
              <a:gd name="connsiteY7" fmla="*/ 3186000 h 318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182800" h="3186000">
                <a:moveTo>
                  <a:pt x="0" y="0"/>
                </a:moveTo>
                <a:lnTo>
                  <a:pt x="8182800" y="0"/>
                </a:lnTo>
                <a:lnTo>
                  <a:pt x="8182800" y="1"/>
                </a:lnTo>
                <a:lnTo>
                  <a:pt x="7225201" y="1"/>
                </a:lnTo>
                <a:lnTo>
                  <a:pt x="7225201" y="1440001"/>
                </a:lnTo>
                <a:lnTo>
                  <a:pt x="8182800" y="1440001"/>
                </a:lnTo>
                <a:lnTo>
                  <a:pt x="8182800" y="3186000"/>
                </a:lnTo>
                <a:lnTo>
                  <a:pt x="0" y="3186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C28E9FB3-DC3C-4E55-9877-2DEEAAB3290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225200" y="0"/>
            <a:ext cx="1440362" cy="1440000"/>
          </a:xfrm>
          <a:prstGeom prst="rect">
            <a:avLst/>
          </a:prstGeom>
        </p:spPr>
      </p:pic>
      <p:sp>
        <p:nvSpPr>
          <p:cNvPr id="23" name="Titel 22">
            <a:extLst>
              <a:ext uri="{FF2B5EF4-FFF2-40B4-BE49-F238E27FC236}">
                <a16:creationId xmlns:a16="http://schemas.microsoft.com/office/drawing/2014/main" id="{259FB325-4F00-4E24-9BB5-CBE59A8EE6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3895200"/>
            <a:ext cx="3527936" cy="324000"/>
          </a:xfrm>
        </p:spPr>
        <p:txBody>
          <a:bodyPr/>
          <a:lstStyle>
            <a:lvl1pPr>
              <a:lnSpc>
                <a:spcPts val="2500"/>
              </a:lnSpc>
              <a:defRPr cap="all" baseline="0"/>
            </a:lvl1pPr>
          </a:lstStyle>
          <a:p>
            <a:pPr lvl="0"/>
            <a:r>
              <a:rPr lang="de-DE"/>
              <a:t>Mastertitelformat bearbeiten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EA11C8C5-D6EB-4C5D-9539-1ADEFC0908B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677199" y="3895200"/>
            <a:ext cx="2505600" cy="324000"/>
          </a:xfrm>
        </p:spPr>
        <p:txBody>
          <a:bodyPr anchor="ctr" anchorCtr="0"/>
          <a:lstStyle>
            <a:lvl1pPr algn="ctr">
              <a:defRPr sz="1050"/>
            </a:lvl1pPr>
          </a:lstStyle>
          <a:p>
            <a:r>
              <a:rPr lang="de-DE"/>
              <a:t>Logo auf Platzhalter ziehen</a:t>
            </a:r>
          </a:p>
        </p:txBody>
      </p:sp>
    </p:spTree>
    <p:extLst>
      <p:ext uri="{BB962C8B-B14F-4D97-AF65-F5344CB8AC3E}">
        <p14:creationId xmlns:p14="http://schemas.microsoft.com/office/powerpoint/2010/main" val="7225862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lder inkl.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EC3A98A1-0379-4B57-A126-017C70E1949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8000" y="954000"/>
            <a:ext cx="3960000" cy="264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97D7879-BA70-4DD0-99E9-74C1A1FA34B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B422CC4-3EFE-4A06-B194-FAB2C24ECED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DC3B07E-B021-4B5C-9450-33EDD58444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000" y="3708000"/>
            <a:ext cx="3960000" cy="576000"/>
          </a:xfrm>
        </p:spPr>
        <p:txBody>
          <a:bodyPr/>
          <a:lstStyle>
            <a:lvl1pPr>
              <a:lnSpc>
                <a:spcPts val="1200"/>
              </a:lnSpc>
              <a:spcAft>
                <a:spcPts val="0"/>
              </a:spcAft>
              <a:defRPr sz="900"/>
            </a:lvl1pPr>
            <a:lvl2pPr>
              <a:lnSpc>
                <a:spcPts val="1200"/>
              </a:lnSpc>
              <a:spcAft>
                <a:spcPts val="0"/>
              </a:spcAft>
              <a:defRPr sz="900"/>
            </a:lvl2pPr>
            <a:lvl3pPr>
              <a:lnSpc>
                <a:spcPts val="1200"/>
              </a:lnSpc>
              <a:spcAft>
                <a:spcPts val="0"/>
              </a:spcAft>
              <a:defRPr sz="900"/>
            </a:lvl3pPr>
            <a:lvl4pPr>
              <a:lnSpc>
                <a:spcPts val="1200"/>
              </a:lnSpc>
              <a:spcAft>
                <a:spcPts val="0"/>
              </a:spcAft>
              <a:defRPr sz="900"/>
            </a:lvl4pPr>
            <a:lvl5pPr>
              <a:lnSpc>
                <a:spcPts val="1200"/>
              </a:lnSpc>
              <a:spcAft>
                <a:spcPts val="0"/>
              </a:spcAft>
              <a:defRPr sz="900"/>
            </a:lvl5pPr>
            <a:lvl6pPr>
              <a:lnSpc>
                <a:spcPts val="1200"/>
              </a:lnSpc>
              <a:spcAft>
                <a:spcPts val="0"/>
              </a:spcAft>
              <a:defRPr sz="900"/>
            </a:lvl6pPr>
            <a:lvl7pPr>
              <a:lnSpc>
                <a:spcPts val="1200"/>
              </a:lnSpc>
              <a:spcAft>
                <a:spcPts val="0"/>
              </a:spcAft>
              <a:defRPr sz="900"/>
            </a:lvl7pPr>
            <a:lvl8pPr>
              <a:lnSpc>
                <a:spcPts val="1200"/>
              </a:lnSpc>
              <a:spcAft>
                <a:spcPts val="0"/>
              </a:spcAft>
              <a:defRPr sz="900"/>
            </a:lvl8pPr>
            <a:lvl9pPr>
              <a:lnSpc>
                <a:spcPts val="12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de-DE"/>
              <a:t>Bildunterzeile // für weitere Ebenen (Text)  &gt;&gt; Menü &gt; Start &gt; Absatz &gt; Listenebene erhöhen 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8" name="Bildplatzhalter 6">
            <a:extLst>
              <a:ext uri="{FF2B5EF4-FFF2-40B4-BE49-F238E27FC236}">
                <a16:creationId xmlns:a16="http://schemas.microsoft.com/office/drawing/2014/main" id="{CFABEA7C-7103-4FAC-AAB1-B8FF0684867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680000" y="954000"/>
            <a:ext cx="3960000" cy="264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9CA26BD8-E4CD-4A9F-ACC0-895F1FD2744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0000" y="3708000"/>
            <a:ext cx="3960000" cy="576000"/>
          </a:xfrm>
        </p:spPr>
        <p:txBody>
          <a:bodyPr/>
          <a:lstStyle>
            <a:lvl1pPr>
              <a:lnSpc>
                <a:spcPts val="1200"/>
              </a:lnSpc>
              <a:spcAft>
                <a:spcPts val="0"/>
              </a:spcAft>
              <a:defRPr sz="900"/>
            </a:lvl1pPr>
            <a:lvl2pPr>
              <a:lnSpc>
                <a:spcPts val="1200"/>
              </a:lnSpc>
              <a:spcAft>
                <a:spcPts val="0"/>
              </a:spcAft>
              <a:defRPr sz="900"/>
            </a:lvl2pPr>
            <a:lvl3pPr>
              <a:lnSpc>
                <a:spcPts val="1200"/>
              </a:lnSpc>
              <a:spcAft>
                <a:spcPts val="0"/>
              </a:spcAft>
              <a:defRPr sz="900"/>
            </a:lvl3pPr>
            <a:lvl4pPr>
              <a:lnSpc>
                <a:spcPts val="1200"/>
              </a:lnSpc>
              <a:spcAft>
                <a:spcPts val="0"/>
              </a:spcAft>
              <a:defRPr sz="900"/>
            </a:lvl4pPr>
            <a:lvl5pPr>
              <a:lnSpc>
                <a:spcPts val="1200"/>
              </a:lnSpc>
              <a:spcAft>
                <a:spcPts val="0"/>
              </a:spcAft>
              <a:defRPr sz="900"/>
            </a:lvl5pPr>
            <a:lvl6pPr>
              <a:lnSpc>
                <a:spcPts val="1200"/>
              </a:lnSpc>
              <a:spcAft>
                <a:spcPts val="0"/>
              </a:spcAft>
              <a:defRPr sz="900"/>
            </a:lvl6pPr>
            <a:lvl7pPr>
              <a:lnSpc>
                <a:spcPts val="1200"/>
              </a:lnSpc>
              <a:spcAft>
                <a:spcPts val="0"/>
              </a:spcAft>
              <a:defRPr sz="900"/>
            </a:lvl7pPr>
            <a:lvl8pPr>
              <a:lnSpc>
                <a:spcPts val="1200"/>
              </a:lnSpc>
              <a:spcAft>
                <a:spcPts val="0"/>
              </a:spcAft>
              <a:defRPr sz="900"/>
            </a:lvl8pPr>
            <a:lvl9pPr>
              <a:lnSpc>
                <a:spcPts val="12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de-DE"/>
              <a:t>Bildunterzeile // für weitere Ebenen (Text)  &gt;&gt; Menü &gt; Start &gt; Absatz &gt; Listenebene erhöhen 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0B3784F-BC20-4A45-986C-728B00F596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KAPITEL | CHART-HEADLINE</a:t>
            </a:r>
          </a:p>
        </p:txBody>
      </p:sp>
    </p:spTree>
    <p:extLst>
      <p:ext uri="{BB962C8B-B14F-4D97-AF65-F5344CB8AC3E}">
        <p14:creationId xmlns:p14="http://schemas.microsoft.com/office/powerpoint/2010/main" val="42622507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45">
          <p15:clr>
            <a:srgbClr val="FBAE40"/>
          </p15:clr>
        </p15:guide>
        <p15:guide id="3" orient="horz" pos="596" userDrawn="1">
          <p15:clr>
            <a:srgbClr val="FBAE40"/>
          </p15:clr>
        </p15:guide>
        <p15:guide id="4" orient="horz" pos="2269" userDrawn="1">
          <p15:clr>
            <a:srgbClr val="FBAE40"/>
          </p15:clr>
        </p15:guide>
        <p15:guide id="5" pos="2790">
          <p15:clr>
            <a:srgbClr val="FBAE40"/>
          </p15:clr>
        </p15:guide>
        <p15:guide id="6" pos="544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Text /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KAPITEL | CHART-HEADLIN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68000" y="918000"/>
            <a:ext cx="3240000" cy="33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auf erster Ebene // für weitere Ebenen &gt;&gt; Menü &gt; Start &gt; Absatz &gt; Listenebene erhöhen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6DB40BEE-2C74-4B7C-AA75-FB330D4E18B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104000" y="954000"/>
            <a:ext cx="4536000" cy="3024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41199913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83" userDrawn="1">
          <p15:clr>
            <a:srgbClr val="FBAE40"/>
          </p15:clr>
        </p15:guide>
        <p15:guide id="2" pos="5444" userDrawn="1">
          <p15:clr>
            <a:srgbClr val="FBAE40"/>
          </p15:clr>
        </p15:guide>
        <p15:guide id="3" orient="horz" pos="596" userDrawn="1">
          <p15:clr>
            <a:srgbClr val="FBAE40"/>
          </p15:clr>
        </p15:guide>
        <p15:guide id="4" orient="horz" pos="2509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Text / Bild inkl. Bildunterz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KAPITEL | CHART-HEADLIN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68000" y="918000"/>
            <a:ext cx="4104000" cy="33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auf erster Ebene // für weitere Ebenen &gt;&gt; Menü &gt; Start &gt; Absatz &gt; Listenebene erhöhen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6DB40BEE-2C74-4B7C-AA75-FB330D4E18B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680000" y="954000"/>
            <a:ext cx="3960000" cy="264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E8C92916-9C2D-4160-84A7-92C7AE8CF3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0000" y="3708000"/>
            <a:ext cx="3960000" cy="576000"/>
          </a:xfrm>
        </p:spPr>
        <p:txBody>
          <a:bodyPr/>
          <a:lstStyle>
            <a:lvl1pPr>
              <a:lnSpc>
                <a:spcPts val="1200"/>
              </a:lnSpc>
              <a:spcAft>
                <a:spcPts val="0"/>
              </a:spcAft>
              <a:defRPr sz="900"/>
            </a:lvl1pPr>
            <a:lvl2pPr>
              <a:lnSpc>
                <a:spcPts val="1200"/>
              </a:lnSpc>
              <a:spcAft>
                <a:spcPts val="0"/>
              </a:spcAft>
              <a:defRPr sz="900"/>
            </a:lvl2pPr>
            <a:lvl3pPr>
              <a:lnSpc>
                <a:spcPts val="1200"/>
              </a:lnSpc>
              <a:spcAft>
                <a:spcPts val="0"/>
              </a:spcAft>
              <a:defRPr sz="900"/>
            </a:lvl3pPr>
            <a:lvl4pPr>
              <a:lnSpc>
                <a:spcPts val="1200"/>
              </a:lnSpc>
              <a:spcAft>
                <a:spcPts val="0"/>
              </a:spcAft>
              <a:defRPr sz="900"/>
            </a:lvl4pPr>
            <a:lvl5pPr>
              <a:lnSpc>
                <a:spcPts val="1200"/>
              </a:lnSpc>
              <a:spcAft>
                <a:spcPts val="0"/>
              </a:spcAft>
              <a:defRPr sz="900"/>
            </a:lvl5pPr>
            <a:lvl6pPr>
              <a:lnSpc>
                <a:spcPts val="1200"/>
              </a:lnSpc>
              <a:spcAft>
                <a:spcPts val="0"/>
              </a:spcAft>
              <a:defRPr sz="900"/>
            </a:lvl6pPr>
            <a:lvl7pPr>
              <a:lnSpc>
                <a:spcPts val="1200"/>
              </a:lnSpc>
              <a:spcAft>
                <a:spcPts val="0"/>
              </a:spcAft>
              <a:defRPr sz="900"/>
            </a:lvl7pPr>
            <a:lvl8pPr>
              <a:lnSpc>
                <a:spcPts val="1200"/>
              </a:lnSpc>
              <a:spcAft>
                <a:spcPts val="0"/>
              </a:spcAft>
              <a:defRPr sz="900"/>
            </a:lvl8pPr>
            <a:lvl9pPr>
              <a:lnSpc>
                <a:spcPts val="12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de-DE"/>
              <a:t>Bildunterzeile // für weitere Ebenen (Text)  &gt;&gt; Menü &gt; Start &gt; Absatz &gt; Listenebene erhöhen </a:t>
            </a:r>
          </a:p>
          <a:p>
            <a:pPr lvl="0"/>
            <a:endParaRPr lang="de-DE"/>
          </a:p>
          <a:p>
            <a:pPr lvl="1"/>
            <a:r>
              <a:rPr lang="de-DE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35871941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45" userDrawn="1">
          <p15:clr>
            <a:srgbClr val="FBAE40"/>
          </p15:clr>
        </p15:guide>
        <p15:guide id="2" pos="5444" userDrawn="1">
          <p15:clr>
            <a:srgbClr val="FBAE40"/>
          </p15:clr>
        </p15:guide>
        <p15:guide id="3" orient="horz" pos="596" userDrawn="1">
          <p15:clr>
            <a:srgbClr val="FBAE40"/>
          </p15:clr>
        </p15:guide>
        <p15:guide id="4" orient="horz" pos="2269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Bild inkl. Bildunterzeile /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KAPITEL | CHART-HEADLIN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220000" y="918000"/>
            <a:ext cx="3420000" cy="33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auf erster Ebene // für weitere Ebenen &gt;&gt; Menü &gt; Start &gt; Absatz &gt; Listenebene erhöhen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6DB40BEE-2C74-4B7C-AA75-FB330D4E18B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68000" y="954000"/>
            <a:ext cx="3960000" cy="264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E8C92916-9C2D-4160-84A7-92C7AE8CF3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000" y="3708000"/>
            <a:ext cx="3960000" cy="576000"/>
          </a:xfrm>
        </p:spPr>
        <p:txBody>
          <a:bodyPr/>
          <a:lstStyle>
            <a:lvl1pPr>
              <a:lnSpc>
                <a:spcPts val="1200"/>
              </a:lnSpc>
              <a:spcAft>
                <a:spcPts val="0"/>
              </a:spcAft>
              <a:defRPr sz="900"/>
            </a:lvl1pPr>
            <a:lvl2pPr>
              <a:lnSpc>
                <a:spcPts val="1200"/>
              </a:lnSpc>
              <a:spcAft>
                <a:spcPts val="0"/>
              </a:spcAft>
              <a:defRPr sz="900"/>
            </a:lvl2pPr>
            <a:lvl3pPr>
              <a:lnSpc>
                <a:spcPts val="1200"/>
              </a:lnSpc>
              <a:spcAft>
                <a:spcPts val="0"/>
              </a:spcAft>
              <a:defRPr sz="900"/>
            </a:lvl3pPr>
            <a:lvl4pPr>
              <a:lnSpc>
                <a:spcPts val="1200"/>
              </a:lnSpc>
              <a:spcAft>
                <a:spcPts val="0"/>
              </a:spcAft>
              <a:defRPr sz="900"/>
            </a:lvl4pPr>
            <a:lvl5pPr>
              <a:lnSpc>
                <a:spcPts val="1200"/>
              </a:lnSpc>
              <a:spcAft>
                <a:spcPts val="0"/>
              </a:spcAft>
              <a:defRPr sz="900"/>
            </a:lvl5pPr>
            <a:lvl6pPr>
              <a:lnSpc>
                <a:spcPts val="1200"/>
              </a:lnSpc>
              <a:spcAft>
                <a:spcPts val="0"/>
              </a:spcAft>
              <a:defRPr sz="900"/>
            </a:lvl6pPr>
            <a:lvl7pPr>
              <a:lnSpc>
                <a:spcPts val="1200"/>
              </a:lnSpc>
              <a:spcAft>
                <a:spcPts val="0"/>
              </a:spcAft>
              <a:defRPr sz="900"/>
            </a:lvl7pPr>
            <a:lvl8pPr>
              <a:lnSpc>
                <a:spcPts val="1200"/>
              </a:lnSpc>
              <a:spcAft>
                <a:spcPts val="0"/>
              </a:spcAft>
              <a:defRPr sz="900"/>
            </a:lvl8pPr>
            <a:lvl9pPr>
              <a:lnSpc>
                <a:spcPts val="12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de-DE"/>
              <a:t>Bildunterzeile // für weitere Ebenen (Text)  &gt;&gt; Menü &gt; Start &gt; Absatz &gt; Listenebene erhöhen </a:t>
            </a:r>
          </a:p>
          <a:p>
            <a:pPr lvl="0"/>
            <a:endParaRPr lang="de-DE"/>
          </a:p>
          <a:p>
            <a:pPr lvl="1"/>
            <a:r>
              <a:rPr lang="de-DE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24137466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45">
          <p15:clr>
            <a:srgbClr val="FBAE40"/>
          </p15:clr>
        </p15:guide>
        <p15:guide id="2" pos="5444">
          <p15:clr>
            <a:srgbClr val="FBAE40"/>
          </p15:clr>
        </p15:guide>
        <p15:guide id="3" orient="horz" pos="596">
          <p15:clr>
            <a:srgbClr val="FBAE40"/>
          </p15:clr>
        </p15:guide>
        <p15:guide id="4" orient="horz" pos="2269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Text / 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KAPITEL | CHART-HEADLIN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68000" y="918000"/>
            <a:ext cx="5400000" cy="33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auf erster Ebene // für weitere Ebenen &gt;&gt; Menü &gt; Start &gt; Absatz &gt; Listenebene erhöhen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6DB40BEE-2C74-4B7C-AA75-FB330D4E18B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80000" y="954000"/>
            <a:ext cx="2160000" cy="1440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7" name="Bildplatzhalter 4">
            <a:extLst>
              <a:ext uri="{FF2B5EF4-FFF2-40B4-BE49-F238E27FC236}">
                <a16:creationId xmlns:a16="http://schemas.microsoft.com/office/drawing/2014/main" id="{73CCF540-0E4F-47A6-981D-1A856FBCB4E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80000" y="2628000"/>
            <a:ext cx="2160000" cy="1440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456241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077" userDrawn="1">
          <p15:clr>
            <a:srgbClr val="FBAE40"/>
          </p15:clr>
        </p15:guide>
        <p15:guide id="2" pos="5444">
          <p15:clr>
            <a:srgbClr val="FBAE40"/>
          </p15:clr>
        </p15:guide>
        <p15:guide id="3" orient="horz" pos="596">
          <p15:clr>
            <a:srgbClr val="FBAE40"/>
          </p15:clr>
        </p15:guide>
        <p15:guide id="4" orient="horz" pos="1653" userDrawn="1">
          <p15:clr>
            <a:srgbClr val="FBAE40"/>
          </p15:clr>
        </p15:guide>
        <p15:guide id="5" orient="horz" pos="2564" userDrawn="1">
          <p15:clr>
            <a:srgbClr val="FBAE40"/>
          </p15:clr>
        </p15:guide>
        <p15:guide id="6" orient="horz" pos="1513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2 Bilder /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KAPITEL | CHART-HEADLIN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240000" y="918000"/>
            <a:ext cx="5400000" cy="33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auf erster Ebene // für weitere Ebenen &gt;&gt; Menü &gt; Start &gt; Absatz &gt; Listenebene erhöhen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6DB40BEE-2C74-4B7C-AA75-FB330D4E18B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68000" y="954000"/>
            <a:ext cx="2160000" cy="1440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7" name="Bildplatzhalter 4">
            <a:extLst>
              <a:ext uri="{FF2B5EF4-FFF2-40B4-BE49-F238E27FC236}">
                <a16:creationId xmlns:a16="http://schemas.microsoft.com/office/drawing/2014/main" id="{73CCF540-0E4F-47A6-981D-1A856FBCB4E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8000" y="2628000"/>
            <a:ext cx="2160000" cy="1440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9870102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58" userDrawn="1">
          <p15:clr>
            <a:srgbClr val="FBAE40"/>
          </p15:clr>
        </p15:guide>
        <p15:guide id="2" pos="5444">
          <p15:clr>
            <a:srgbClr val="FBAE40"/>
          </p15:clr>
        </p15:guide>
        <p15:guide id="3" orient="horz" pos="596">
          <p15:clr>
            <a:srgbClr val="FBAE40"/>
          </p15:clr>
        </p15:guide>
        <p15:guide id="4" orient="horz" pos="1653">
          <p15:clr>
            <a:srgbClr val="FBAE40"/>
          </p15:clr>
        </p15:guide>
        <p15:guide id="5" orient="horz" pos="2564">
          <p15:clr>
            <a:srgbClr val="FBAE40"/>
          </p15:clr>
        </p15:guide>
        <p15:guide id="6" orient="horz" pos="1513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HEADLINE EINFÜG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62F6D41-300A-44A6-A773-F84C7424CD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5674647-E98A-4E91-B769-603FBD38FC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8363401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E7FEC2D-DBFC-481D-89EF-55316F02D4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BC5583F-31A1-412C-900F-41106AD784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8177960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Vorstellung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 hidden="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0912" y="0"/>
            <a:ext cx="2830680" cy="1698408"/>
          </a:xfrm>
          <a:prstGeom prst="rect">
            <a:avLst/>
          </a:prstGeom>
        </p:spPr>
      </p:pic>
      <p:sp>
        <p:nvSpPr>
          <p:cNvPr id="8" name="Bildplatzhalter 11"/>
          <p:cNvSpPr>
            <a:spLocks noGrp="1"/>
          </p:cNvSpPr>
          <p:nvPr>
            <p:ph type="pic" sz="quarter" idx="10"/>
          </p:nvPr>
        </p:nvSpPr>
        <p:spPr>
          <a:xfrm>
            <a:off x="-4834" y="-2989"/>
            <a:ext cx="9148810" cy="5148352"/>
          </a:xfrm>
          <a:custGeom>
            <a:avLst/>
            <a:gdLst>
              <a:gd name="connsiteX0" fmla="*/ 0 w 8064500"/>
              <a:gd name="connsiteY0" fmla="*/ 0 h 4038600"/>
              <a:gd name="connsiteX1" fmla="*/ 8064500 w 8064500"/>
              <a:gd name="connsiteY1" fmla="*/ 0 h 4038600"/>
              <a:gd name="connsiteX2" fmla="*/ 8064500 w 8064500"/>
              <a:gd name="connsiteY2" fmla="*/ 4038600 h 4038600"/>
              <a:gd name="connsiteX3" fmla="*/ 0 w 8064500"/>
              <a:gd name="connsiteY3" fmla="*/ 4038600 h 4038600"/>
              <a:gd name="connsiteX4" fmla="*/ 0 w 8064500"/>
              <a:gd name="connsiteY4" fmla="*/ 0 h 4038600"/>
              <a:gd name="connsiteX0" fmla="*/ 0 w 8064500"/>
              <a:gd name="connsiteY0" fmla="*/ 0 h 4038600"/>
              <a:gd name="connsiteX1" fmla="*/ 8064500 w 8064500"/>
              <a:gd name="connsiteY1" fmla="*/ 0 h 4038600"/>
              <a:gd name="connsiteX2" fmla="*/ 8062913 w 8064500"/>
              <a:gd name="connsiteY2" fmla="*/ 1719263 h 4038600"/>
              <a:gd name="connsiteX3" fmla="*/ 8064500 w 8064500"/>
              <a:gd name="connsiteY3" fmla="*/ 4038600 h 4038600"/>
              <a:gd name="connsiteX4" fmla="*/ 0 w 8064500"/>
              <a:gd name="connsiteY4" fmla="*/ 4038600 h 4038600"/>
              <a:gd name="connsiteX5" fmla="*/ 0 w 8064500"/>
              <a:gd name="connsiteY5" fmla="*/ 0 h 4038600"/>
              <a:gd name="connsiteX0" fmla="*/ 0 w 8064500"/>
              <a:gd name="connsiteY0" fmla="*/ 0 h 4038600"/>
              <a:gd name="connsiteX1" fmla="*/ 8064500 w 8064500"/>
              <a:gd name="connsiteY1" fmla="*/ 0 h 4038600"/>
              <a:gd name="connsiteX2" fmla="*/ 8062913 w 8064500"/>
              <a:gd name="connsiteY2" fmla="*/ 1221581 h 4038600"/>
              <a:gd name="connsiteX3" fmla="*/ 8062913 w 8064500"/>
              <a:gd name="connsiteY3" fmla="*/ 1719263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0 w 8064500"/>
              <a:gd name="connsiteY0" fmla="*/ 0 h 4038600"/>
              <a:gd name="connsiteX1" fmla="*/ 8064500 w 8064500"/>
              <a:gd name="connsiteY1" fmla="*/ 0 h 4038600"/>
              <a:gd name="connsiteX2" fmla="*/ 6669882 w 8064500"/>
              <a:gd name="connsiteY2" fmla="*/ 1909762 h 4038600"/>
              <a:gd name="connsiteX3" fmla="*/ 8062913 w 8064500"/>
              <a:gd name="connsiteY3" fmla="*/ 1719263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0 w 8064500"/>
              <a:gd name="connsiteY0" fmla="*/ 0 h 4038600"/>
              <a:gd name="connsiteX1" fmla="*/ 8064500 w 8064500"/>
              <a:gd name="connsiteY1" fmla="*/ 0 h 4038600"/>
              <a:gd name="connsiteX2" fmla="*/ 6881813 w 8064500"/>
              <a:gd name="connsiteY2" fmla="*/ 1724025 h 4038600"/>
              <a:gd name="connsiteX3" fmla="*/ 8062913 w 8064500"/>
              <a:gd name="connsiteY3" fmla="*/ 1719263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0 w 8064500"/>
              <a:gd name="connsiteY0" fmla="*/ 0 h 4038600"/>
              <a:gd name="connsiteX1" fmla="*/ 6876256 w 8064500"/>
              <a:gd name="connsiteY1" fmla="*/ 0 h 4038600"/>
              <a:gd name="connsiteX2" fmla="*/ 6881813 w 8064500"/>
              <a:gd name="connsiteY2" fmla="*/ 1724025 h 4038600"/>
              <a:gd name="connsiteX3" fmla="*/ 8062913 w 8064500"/>
              <a:gd name="connsiteY3" fmla="*/ 1719263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0 w 8064500"/>
              <a:gd name="connsiteY0" fmla="*/ 0 h 4038600"/>
              <a:gd name="connsiteX1" fmla="*/ 6878637 w 8064500"/>
              <a:gd name="connsiteY1" fmla="*/ 0 h 4038600"/>
              <a:gd name="connsiteX2" fmla="*/ 6881813 w 8064500"/>
              <a:gd name="connsiteY2" fmla="*/ 1724025 h 4038600"/>
              <a:gd name="connsiteX3" fmla="*/ 8062913 w 8064500"/>
              <a:gd name="connsiteY3" fmla="*/ 1719263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0 w 8064500"/>
              <a:gd name="connsiteY0" fmla="*/ 0 h 4038600"/>
              <a:gd name="connsiteX1" fmla="*/ 6878637 w 8064500"/>
              <a:gd name="connsiteY1" fmla="*/ 0 h 4038600"/>
              <a:gd name="connsiteX2" fmla="*/ 6881813 w 8064500"/>
              <a:gd name="connsiteY2" fmla="*/ 1724025 h 4038600"/>
              <a:gd name="connsiteX3" fmla="*/ 8062913 w 8064500"/>
              <a:gd name="connsiteY3" fmla="*/ 1724025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81775 w 8146275"/>
              <a:gd name="connsiteY0" fmla="*/ 0 h 4038600"/>
              <a:gd name="connsiteX1" fmla="*/ 6960412 w 8146275"/>
              <a:gd name="connsiteY1" fmla="*/ 0 h 4038600"/>
              <a:gd name="connsiteX2" fmla="*/ 6963588 w 8146275"/>
              <a:gd name="connsiteY2" fmla="*/ 1724025 h 4038600"/>
              <a:gd name="connsiteX3" fmla="*/ 8144688 w 8146275"/>
              <a:gd name="connsiteY3" fmla="*/ 1724025 h 4038600"/>
              <a:gd name="connsiteX4" fmla="*/ 8146275 w 8146275"/>
              <a:gd name="connsiteY4" fmla="*/ 4038600 h 4038600"/>
              <a:gd name="connsiteX5" fmla="*/ 0 w 8146275"/>
              <a:gd name="connsiteY5" fmla="*/ 4038600 h 4038600"/>
              <a:gd name="connsiteX6" fmla="*/ 81775 w 8146275"/>
              <a:gd name="connsiteY6" fmla="*/ 0 h 4038600"/>
              <a:gd name="connsiteX0" fmla="*/ 0 w 8146276"/>
              <a:gd name="connsiteY0" fmla="*/ 0 h 4046034"/>
              <a:gd name="connsiteX1" fmla="*/ 6960413 w 8146276"/>
              <a:gd name="connsiteY1" fmla="*/ 7434 h 4046034"/>
              <a:gd name="connsiteX2" fmla="*/ 6963589 w 8146276"/>
              <a:gd name="connsiteY2" fmla="*/ 1731459 h 4046034"/>
              <a:gd name="connsiteX3" fmla="*/ 8144689 w 8146276"/>
              <a:gd name="connsiteY3" fmla="*/ 1731459 h 4046034"/>
              <a:gd name="connsiteX4" fmla="*/ 8146276 w 8146276"/>
              <a:gd name="connsiteY4" fmla="*/ 4046034 h 4046034"/>
              <a:gd name="connsiteX5" fmla="*/ 1 w 8146276"/>
              <a:gd name="connsiteY5" fmla="*/ 4046034 h 4046034"/>
              <a:gd name="connsiteX6" fmla="*/ 0 w 8146276"/>
              <a:gd name="connsiteY6" fmla="*/ 0 h 4046034"/>
              <a:gd name="connsiteX0" fmla="*/ 9524 w 8155800"/>
              <a:gd name="connsiteY0" fmla="*/ 0 h 6093909"/>
              <a:gd name="connsiteX1" fmla="*/ 6969937 w 8155800"/>
              <a:gd name="connsiteY1" fmla="*/ 7434 h 6093909"/>
              <a:gd name="connsiteX2" fmla="*/ 6973113 w 8155800"/>
              <a:gd name="connsiteY2" fmla="*/ 1731459 h 6093909"/>
              <a:gd name="connsiteX3" fmla="*/ 8154213 w 8155800"/>
              <a:gd name="connsiteY3" fmla="*/ 1731459 h 6093909"/>
              <a:gd name="connsiteX4" fmla="*/ 8155800 w 8155800"/>
              <a:gd name="connsiteY4" fmla="*/ 4046034 h 6093909"/>
              <a:gd name="connsiteX5" fmla="*/ 0 w 8155800"/>
              <a:gd name="connsiteY5" fmla="*/ 6093909 h 6093909"/>
              <a:gd name="connsiteX6" fmla="*/ 9524 w 8155800"/>
              <a:gd name="connsiteY6" fmla="*/ 0 h 6093909"/>
              <a:gd name="connsiteX0" fmla="*/ 9524 w 8165325"/>
              <a:gd name="connsiteY0" fmla="*/ 0 h 6103434"/>
              <a:gd name="connsiteX1" fmla="*/ 6969937 w 8165325"/>
              <a:gd name="connsiteY1" fmla="*/ 7434 h 6103434"/>
              <a:gd name="connsiteX2" fmla="*/ 6973113 w 8165325"/>
              <a:gd name="connsiteY2" fmla="*/ 1731459 h 6103434"/>
              <a:gd name="connsiteX3" fmla="*/ 8154213 w 8165325"/>
              <a:gd name="connsiteY3" fmla="*/ 1731459 h 6103434"/>
              <a:gd name="connsiteX4" fmla="*/ 8165325 w 8165325"/>
              <a:gd name="connsiteY4" fmla="*/ 6103434 h 6103434"/>
              <a:gd name="connsiteX5" fmla="*/ 0 w 8165325"/>
              <a:gd name="connsiteY5" fmla="*/ 6093909 h 6103434"/>
              <a:gd name="connsiteX6" fmla="*/ 9524 w 8165325"/>
              <a:gd name="connsiteY6" fmla="*/ 0 h 6103434"/>
              <a:gd name="connsiteX0" fmla="*/ 9524 w 8694213"/>
              <a:gd name="connsiteY0" fmla="*/ 0 h 6103434"/>
              <a:gd name="connsiteX1" fmla="*/ 6969937 w 8694213"/>
              <a:gd name="connsiteY1" fmla="*/ 7434 h 6103434"/>
              <a:gd name="connsiteX2" fmla="*/ 6973113 w 8694213"/>
              <a:gd name="connsiteY2" fmla="*/ 1731459 h 6103434"/>
              <a:gd name="connsiteX3" fmla="*/ 8694213 w 8694213"/>
              <a:gd name="connsiteY3" fmla="*/ 1731459 h 6103434"/>
              <a:gd name="connsiteX4" fmla="*/ 8165325 w 8694213"/>
              <a:gd name="connsiteY4" fmla="*/ 6103434 h 6103434"/>
              <a:gd name="connsiteX5" fmla="*/ 0 w 8694213"/>
              <a:gd name="connsiteY5" fmla="*/ 6093909 h 6103434"/>
              <a:gd name="connsiteX6" fmla="*/ 9524 w 8694213"/>
              <a:gd name="connsiteY6" fmla="*/ 0 h 6103434"/>
              <a:gd name="connsiteX0" fmla="*/ 9524 w 8891427"/>
              <a:gd name="connsiteY0" fmla="*/ 0 h 6103434"/>
              <a:gd name="connsiteX1" fmla="*/ 6969937 w 8891427"/>
              <a:gd name="connsiteY1" fmla="*/ 7434 h 6103434"/>
              <a:gd name="connsiteX2" fmla="*/ 6973113 w 8891427"/>
              <a:gd name="connsiteY2" fmla="*/ 1731459 h 6103434"/>
              <a:gd name="connsiteX3" fmla="*/ 8694213 w 8891427"/>
              <a:gd name="connsiteY3" fmla="*/ 1731459 h 6103434"/>
              <a:gd name="connsiteX4" fmla="*/ 8889495 w 8891427"/>
              <a:gd name="connsiteY4" fmla="*/ 597833 h 6103434"/>
              <a:gd name="connsiteX5" fmla="*/ 8165325 w 8891427"/>
              <a:gd name="connsiteY5" fmla="*/ 6103434 h 6103434"/>
              <a:gd name="connsiteX6" fmla="*/ 0 w 8891427"/>
              <a:gd name="connsiteY6" fmla="*/ 6093909 h 6103434"/>
              <a:gd name="connsiteX7" fmla="*/ 9524 w 8891427"/>
              <a:gd name="connsiteY7" fmla="*/ 0 h 6103434"/>
              <a:gd name="connsiteX0" fmla="*/ 9524 w 8929879"/>
              <a:gd name="connsiteY0" fmla="*/ 0 h 6103434"/>
              <a:gd name="connsiteX1" fmla="*/ 6969937 w 8929879"/>
              <a:gd name="connsiteY1" fmla="*/ 7434 h 6103434"/>
              <a:gd name="connsiteX2" fmla="*/ 6973113 w 8929879"/>
              <a:gd name="connsiteY2" fmla="*/ 1731459 h 6103434"/>
              <a:gd name="connsiteX3" fmla="*/ 8694213 w 8929879"/>
              <a:gd name="connsiteY3" fmla="*/ 1731459 h 6103434"/>
              <a:gd name="connsiteX4" fmla="*/ 8889495 w 8929879"/>
              <a:gd name="connsiteY4" fmla="*/ 597833 h 6103434"/>
              <a:gd name="connsiteX5" fmla="*/ 8165325 w 8929879"/>
              <a:gd name="connsiteY5" fmla="*/ 6103434 h 6103434"/>
              <a:gd name="connsiteX6" fmla="*/ 0 w 8929879"/>
              <a:gd name="connsiteY6" fmla="*/ 6093909 h 6103434"/>
              <a:gd name="connsiteX7" fmla="*/ 9524 w 8929879"/>
              <a:gd name="connsiteY7" fmla="*/ 0 h 6103434"/>
              <a:gd name="connsiteX0" fmla="*/ 9524 w 8954130"/>
              <a:gd name="connsiteY0" fmla="*/ 0 h 6103434"/>
              <a:gd name="connsiteX1" fmla="*/ 6969937 w 8954130"/>
              <a:gd name="connsiteY1" fmla="*/ 7434 h 6103434"/>
              <a:gd name="connsiteX2" fmla="*/ 6973113 w 8954130"/>
              <a:gd name="connsiteY2" fmla="*/ 1731459 h 6103434"/>
              <a:gd name="connsiteX3" fmla="*/ 8694213 w 8954130"/>
              <a:gd name="connsiteY3" fmla="*/ 1731459 h 6103434"/>
              <a:gd name="connsiteX4" fmla="*/ 8889495 w 8954130"/>
              <a:gd name="connsiteY4" fmla="*/ 597833 h 6103434"/>
              <a:gd name="connsiteX5" fmla="*/ 8165325 w 8954130"/>
              <a:gd name="connsiteY5" fmla="*/ 6103434 h 6103434"/>
              <a:gd name="connsiteX6" fmla="*/ 0 w 8954130"/>
              <a:gd name="connsiteY6" fmla="*/ 6093909 h 6103434"/>
              <a:gd name="connsiteX7" fmla="*/ 9524 w 8954130"/>
              <a:gd name="connsiteY7" fmla="*/ 0 h 6103434"/>
              <a:gd name="connsiteX0" fmla="*/ 9524 w 8889495"/>
              <a:gd name="connsiteY0" fmla="*/ 0 h 6103434"/>
              <a:gd name="connsiteX1" fmla="*/ 6969937 w 8889495"/>
              <a:gd name="connsiteY1" fmla="*/ 7434 h 6103434"/>
              <a:gd name="connsiteX2" fmla="*/ 6973113 w 8889495"/>
              <a:gd name="connsiteY2" fmla="*/ 1731459 h 6103434"/>
              <a:gd name="connsiteX3" fmla="*/ 8694213 w 8889495"/>
              <a:gd name="connsiteY3" fmla="*/ 1731459 h 6103434"/>
              <a:gd name="connsiteX4" fmla="*/ 8889495 w 8889495"/>
              <a:gd name="connsiteY4" fmla="*/ 597833 h 6103434"/>
              <a:gd name="connsiteX5" fmla="*/ 8165325 w 8889495"/>
              <a:gd name="connsiteY5" fmla="*/ 6103434 h 6103434"/>
              <a:gd name="connsiteX6" fmla="*/ 0 w 8889495"/>
              <a:gd name="connsiteY6" fmla="*/ 6093909 h 6103434"/>
              <a:gd name="connsiteX7" fmla="*/ 9524 w 8889495"/>
              <a:gd name="connsiteY7" fmla="*/ 0 h 6103434"/>
              <a:gd name="connsiteX0" fmla="*/ 9524 w 8914544"/>
              <a:gd name="connsiteY0" fmla="*/ 0 h 6103434"/>
              <a:gd name="connsiteX1" fmla="*/ 6969937 w 8914544"/>
              <a:gd name="connsiteY1" fmla="*/ 7434 h 6103434"/>
              <a:gd name="connsiteX2" fmla="*/ 6973113 w 8914544"/>
              <a:gd name="connsiteY2" fmla="*/ 1731459 h 6103434"/>
              <a:gd name="connsiteX3" fmla="*/ 8694213 w 8914544"/>
              <a:gd name="connsiteY3" fmla="*/ 1731459 h 6103434"/>
              <a:gd name="connsiteX4" fmla="*/ 8889495 w 8914544"/>
              <a:gd name="connsiteY4" fmla="*/ 597833 h 6103434"/>
              <a:gd name="connsiteX5" fmla="*/ 8165325 w 8914544"/>
              <a:gd name="connsiteY5" fmla="*/ 6103434 h 6103434"/>
              <a:gd name="connsiteX6" fmla="*/ 0 w 8914544"/>
              <a:gd name="connsiteY6" fmla="*/ 6093909 h 6103434"/>
              <a:gd name="connsiteX7" fmla="*/ 9524 w 8914544"/>
              <a:gd name="connsiteY7" fmla="*/ 0 h 6103434"/>
              <a:gd name="connsiteX0" fmla="*/ 9524 w 8837102"/>
              <a:gd name="connsiteY0" fmla="*/ 0 h 6103434"/>
              <a:gd name="connsiteX1" fmla="*/ 6969937 w 8837102"/>
              <a:gd name="connsiteY1" fmla="*/ 7434 h 6103434"/>
              <a:gd name="connsiteX2" fmla="*/ 6973113 w 8837102"/>
              <a:gd name="connsiteY2" fmla="*/ 1731459 h 6103434"/>
              <a:gd name="connsiteX3" fmla="*/ 8694213 w 8837102"/>
              <a:gd name="connsiteY3" fmla="*/ 1731459 h 6103434"/>
              <a:gd name="connsiteX4" fmla="*/ 8695095 w 8837102"/>
              <a:gd name="connsiteY4" fmla="*/ 29033 h 6103434"/>
              <a:gd name="connsiteX5" fmla="*/ 8165325 w 8837102"/>
              <a:gd name="connsiteY5" fmla="*/ 6103434 h 6103434"/>
              <a:gd name="connsiteX6" fmla="*/ 0 w 8837102"/>
              <a:gd name="connsiteY6" fmla="*/ 6093909 h 6103434"/>
              <a:gd name="connsiteX7" fmla="*/ 9524 w 8837102"/>
              <a:gd name="connsiteY7" fmla="*/ 0 h 6103434"/>
              <a:gd name="connsiteX0" fmla="*/ 9524 w 8970194"/>
              <a:gd name="connsiteY0" fmla="*/ 107230 h 6210664"/>
              <a:gd name="connsiteX1" fmla="*/ 6969937 w 8970194"/>
              <a:gd name="connsiteY1" fmla="*/ 114664 h 6210664"/>
              <a:gd name="connsiteX2" fmla="*/ 6973113 w 8970194"/>
              <a:gd name="connsiteY2" fmla="*/ 1838689 h 6210664"/>
              <a:gd name="connsiteX3" fmla="*/ 8694213 w 8970194"/>
              <a:gd name="connsiteY3" fmla="*/ 1838689 h 6210664"/>
              <a:gd name="connsiteX4" fmla="*/ 8695095 w 8970194"/>
              <a:gd name="connsiteY4" fmla="*/ 136263 h 6210664"/>
              <a:gd name="connsiteX5" fmla="*/ 8165325 w 8970194"/>
              <a:gd name="connsiteY5" fmla="*/ 6210664 h 6210664"/>
              <a:gd name="connsiteX6" fmla="*/ 0 w 8970194"/>
              <a:gd name="connsiteY6" fmla="*/ 6201139 h 6210664"/>
              <a:gd name="connsiteX7" fmla="*/ 9524 w 8970194"/>
              <a:gd name="connsiteY7" fmla="*/ 107230 h 6210664"/>
              <a:gd name="connsiteX0" fmla="*/ 9524 w 8734141"/>
              <a:gd name="connsiteY0" fmla="*/ 157774 h 6261208"/>
              <a:gd name="connsiteX1" fmla="*/ 6969937 w 8734141"/>
              <a:gd name="connsiteY1" fmla="*/ 165208 h 6261208"/>
              <a:gd name="connsiteX2" fmla="*/ 6973113 w 8734141"/>
              <a:gd name="connsiteY2" fmla="*/ 1889233 h 6261208"/>
              <a:gd name="connsiteX3" fmla="*/ 8694213 w 8734141"/>
              <a:gd name="connsiteY3" fmla="*/ 1889233 h 6261208"/>
              <a:gd name="connsiteX4" fmla="*/ 8695095 w 8734141"/>
              <a:gd name="connsiteY4" fmla="*/ 186807 h 6261208"/>
              <a:gd name="connsiteX5" fmla="*/ 8165325 w 8734141"/>
              <a:gd name="connsiteY5" fmla="*/ 6261208 h 6261208"/>
              <a:gd name="connsiteX6" fmla="*/ 0 w 8734141"/>
              <a:gd name="connsiteY6" fmla="*/ 6251683 h 6261208"/>
              <a:gd name="connsiteX7" fmla="*/ 9524 w 8734141"/>
              <a:gd name="connsiteY7" fmla="*/ 157774 h 6261208"/>
              <a:gd name="connsiteX0" fmla="*/ 9524 w 8695095"/>
              <a:gd name="connsiteY0" fmla="*/ 0 h 6103434"/>
              <a:gd name="connsiteX1" fmla="*/ 6969937 w 8695095"/>
              <a:gd name="connsiteY1" fmla="*/ 7434 h 6103434"/>
              <a:gd name="connsiteX2" fmla="*/ 6973113 w 8695095"/>
              <a:gd name="connsiteY2" fmla="*/ 1731459 h 6103434"/>
              <a:gd name="connsiteX3" fmla="*/ 8694213 w 8695095"/>
              <a:gd name="connsiteY3" fmla="*/ 1731459 h 6103434"/>
              <a:gd name="connsiteX4" fmla="*/ 8695095 w 8695095"/>
              <a:gd name="connsiteY4" fmla="*/ 29033 h 6103434"/>
              <a:gd name="connsiteX5" fmla="*/ 8165325 w 8695095"/>
              <a:gd name="connsiteY5" fmla="*/ 6103434 h 6103434"/>
              <a:gd name="connsiteX6" fmla="*/ 0 w 8695095"/>
              <a:gd name="connsiteY6" fmla="*/ 6093909 h 6103434"/>
              <a:gd name="connsiteX7" fmla="*/ 9524 w 8695095"/>
              <a:gd name="connsiteY7" fmla="*/ 0 h 6103434"/>
              <a:gd name="connsiteX0" fmla="*/ 9524 w 8954978"/>
              <a:gd name="connsiteY0" fmla="*/ 0 h 6103434"/>
              <a:gd name="connsiteX1" fmla="*/ 6969937 w 8954978"/>
              <a:gd name="connsiteY1" fmla="*/ 7434 h 6103434"/>
              <a:gd name="connsiteX2" fmla="*/ 6973113 w 8954978"/>
              <a:gd name="connsiteY2" fmla="*/ 1731459 h 6103434"/>
              <a:gd name="connsiteX3" fmla="*/ 8694213 w 8954978"/>
              <a:gd name="connsiteY3" fmla="*/ 1731459 h 6103434"/>
              <a:gd name="connsiteX4" fmla="*/ 8695095 w 8954978"/>
              <a:gd name="connsiteY4" fmla="*/ 29033 h 6103434"/>
              <a:gd name="connsiteX5" fmla="*/ 8947095 w 8954978"/>
              <a:gd name="connsiteY5" fmla="*/ 2318633 h 6103434"/>
              <a:gd name="connsiteX6" fmla="*/ 8165325 w 8954978"/>
              <a:gd name="connsiteY6" fmla="*/ 6103434 h 6103434"/>
              <a:gd name="connsiteX7" fmla="*/ 0 w 8954978"/>
              <a:gd name="connsiteY7" fmla="*/ 6093909 h 6103434"/>
              <a:gd name="connsiteX8" fmla="*/ 9524 w 8954978"/>
              <a:gd name="connsiteY8" fmla="*/ 0 h 6103434"/>
              <a:gd name="connsiteX0" fmla="*/ 9524 w 8947095"/>
              <a:gd name="connsiteY0" fmla="*/ 0 h 6103434"/>
              <a:gd name="connsiteX1" fmla="*/ 6969937 w 8947095"/>
              <a:gd name="connsiteY1" fmla="*/ 7434 h 6103434"/>
              <a:gd name="connsiteX2" fmla="*/ 6973113 w 8947095"/>
              <a:gd name="connsiteY2" fmla="*/ 1731459 h 6103434"/>
              <a:gd name="connsiteX3" fmla="*/ 8694213 w 8947095"/>
              <a:gd name="connsiteY3" fmla="*/ 1731459 h 6103434"/>
              <a:gd name="connsiteX4" fmla="*/ 8695095 w 8947095"/>
              <a:gd name="connsiteY4" fmla="*/ 29033 h 6103434"/>
              <a:gd name="connsiteX5" fmla="*/ 8947095 w 8947095"/>
              <a:gd name="connsiteY5" fmla="*/ 2318633 h 6103434"/>
              <a:gd name="connsiteX6" fmla="*/ 8165325 w 8947095"/>
              <a:gd name="connsiteY6" fmla="*/ 6103434 h 6103434"/>
              <a:gd name="connsiteX7" fmla="*/ 0 w 8947095"/>
              <a:gd name="connsiteY7" fmla="*/ 6093909 h 6103434"/>
              <a:gd name="connsiteX8" fmla="*/ 9524 w 8947095"/>
              <a:gd name="connsiteY8" fmla="*/ 0 h 6103434"/>
              <a:gd name="connsiteX0" fmla="*/ 9524 w 9141495"/>
              <a:gd name="connsiteY0" fmla="*/ 358826 h 6462260"/>
              <a:gd name="connsiteX1" fmla="*/ 6969937 w 9141495"/>
              <a:gd name="connsiteY1" fmla="*/ 366260 h 6462260"/>
              <a:gd name="connsiteX2" fmla="*/ 6973113 w 9141495"/>
              <a:gd name="connsiteY2" fmla="*/ 2090285 h 6462260"/>
              <a:gd name="connsiteX3" fmla="*/ 8694213 w 9141495"/>
              <a:gd name="connsiteY3" fmla="*/ 2090285 h 6462260"/>
              <a:gd name="connsiteX4" fmla="*/ 8695095 w 9141495"/>
              <a:gd name="connsiteY4" fmla="*/ 387859 h 6462260"/>
              <a:gd name="connsiteX5" fmla="*/ 9141495 w 9141495"/>
              <a:gd name="connsiteY5" fmla="*/ 373459 h 6462260"/>
              <a:gd name="connsiteX6" fmla="*/ 8165325 w 9141495"/>
              <a:gd name="connsiteY6" fmla="*/ 6462260 h 6462260"/>
              <a:gd name="connsiteX7" fmla="*/ 0 w 9141495"/>
              <a:gd name="connsiteY7" fmla="*/ 6452735 h 6462260"/>
              <a:gd name="connsiteX8" fmla="*/ 9524 w 9141495"/>
              <a:gd name="connsiteY8" fmla="*/ 358826 h 6462260"/>
              <a:gd name="connsiteX0" fmla="*/ 9524 w 9141495"/>
              <a:gd name="connsiteY0" fmla="*/ 492044 h 6595478"/>
              <a:gd name="connsiteX1" fmla="*/ 6969937 w 9141495"/>
              <a:gd name="connsiteY1" fmla="*/ 499478 h 6595478"/>
              <a:gd name="connsiteX2" fmla="*/ 6973113 w 9141495"/>
              <a:gd name="connsiteY2" fmla="*/ 2223503 h 6595478"/>
              <a:gd name="connsiteX3" fmla="*/ 8694213 w 9141495"/>
              <a:gd name="connsiteY3" fmla="*/ 2223503 h 6595478"/>
              <a:gd name="connsiteX4" fmla="*/ 8695095 w 9141495"/>
              <a:gd name="connsiteY4" fmla="*/ 521077 h 6595478"/>
              <a:gd name="connsiteX5" fmla="*/ 9141495 w 9141495"/>
              <a:gd name="connsiteY5" fmla="*/ 506677 h 6595478"/>
              <a:gd name="connsiteX6" fmla="*/ 8165325 w 9141495"/>
              <a:gd name="connsiteY6" fmla="*/ 6595478 h 6595478"/>
              <a:gd name="connsiteX7" fmla="*/ 0 w 9141495"/>
              <a:gd name="connsiteY7" fmla="*/ 6585953 h 6595478"/>
              <a:gd name="connsiteX8" fmla="*/ 9524 w 9141495"/>
              <a:gd name="connsiteY8" fmla="*/ 492044 h 6595478"/>
              <a:gd name="connsiteX0" fmla="*/ 9524 w 9141495"/>
              <a:gd name="connsiteY0" fmla="*/ 0 h 6103434"/>
              <a:gd name="connsiteX1" fmla="*/ 6969937 w 9141495"/>
              <a:gd name="connsiteY1" fmla="*/ 7434 h 6103434"/>
              <a:gd name="connsiteX2" fmla="*/ 6973113 w 9141495"/>
              <a:gd name="connsiteY2" fmla="*/ 1731459 h 6103434"/>
              <a:gd name="connsiteX3" fmla="*/ 8694213 w 9141495"/>
              <a:gd name="connsiteY3" fmla="*/ 1731459 h 6103434"/>
              <a:gd name="connsiteX4" fmla="*/ 8695095 w 9141495"/>
              <a:gd name="connsiteY4" fmla="*/ 29033 h 6103434"/>
              <a:gd name="connsiteX5" fmla="*/ 9141495 w 9141495"/>
              <a:gd name="connsiteY5" fmla="*/ 14633 h 6103434"/>
              <a:gd name="connsiteX6" fmla="*/ 8165325 w 9141495"/>
              <a:gd name="connsiteY6" fmla="*/ 6103434 h 6103434"/>
              <a:gd name="connsiteX7" fmla="*/ 0 w 9141495"/>
              <a:gd name="connsiteY7" fmla="*/ 6093909 h 6103434"/>
              <a:gd name="connsiteX8" fmla="*/ 9524 w 9141495"/>
              <a:gd name="connsiteY8" fmla="*/ 0 h 6103434"/>
              <a:gd name="connsiteX0" fmla="*/ 9524 w 9141495"/>
              <a:gd name="connsiteY0" fmla="*/ 0 h 6103434"/>
              <a:gd name="connsiteX1" fmla="*/ 6969937 w 9141495"/>
              <a:gd name="connsiteY1" fmla="*/ 7434 h 6103434"/>
              <a:gd name="connsiteX2" fmla="*/ 6973113 w 9141495"/>
              <a:gd name="connsiteY2" fmla="*/ 1731459 h 6103434"/>
              <a:gd name="connsiteX3" fmla="*/ 8694213 w 9141495"/>
              <a:gd name="connsiteY3" fmla="*/ 1731459 h 6103434"/>
              <a:gd name="connsiteX4" fmla="*/ 8692714 w 9141495"/>
              <a:gd name="connsiteY4" fmla="*/ 7602 h 6103434"/>
              <a:gd name="connsiteX5" fmla="*/ 9141495 w 9141495"/>
              <a:gd name="connsiteY5" fmla="*/ 14633 h 6103434"/>
              <a:gd name="connsiteX6" fmla="*/ 8165325 w 9141495"/>
              <a:gd name="connsiteY6" fmla="*/ 6103434 h 6103434"/>
              <a:gd name="connsiteX7" fmla="*/ 0 w 9141495"/>
              <a:gd name="connsiteY7" fmla="*/ 6093909 h 6103434"/>
              <a:gd name="connsiteX8" fmla="*/ 9524 w 9141495"/>
              <a:gd name="connsiteY8" fmla="*/ 0 h 6103434"/>
              <a:gd name="connsiteX0" fmla="*/ 9524 w 9160545"/>
              <a:gd name="connsiteY0" fmla="*/ 0 h 6103434"/>
              <a:gd name="connsiteX1" fmla="*/ 6969937 w 9160545"/>
              <a:gd name="connsiteY1" fmla="*/ 7434 h 6103434"/>
              <a:gd name="connsiteX2" fmla="*/ 6973113 w 9160545"/>
              <a:gd name="connsiteY2" fmla="*/ 1731459 h 6103434"/>
              <a:gd name="connsiteX3" fmla="*/ 8694213 w 9160545"/>
              <a:gd name="connsiteY3" fmla="*/ 1731459 h 6103434"/>
              <a:gd name="connsiteX4" fmla="*/ 8692714 w 9160545"/>
              <a:gd name="connsiteY4" fmla="*/ 7602 h 6103434"/>
              <a:gd name="connsiteX5" fmla="*/ 9160545 w 9160545"/>
              <a:gd name="connsiteY5" fmla="*/ 7489 h 6103434"/>
              <a:gd name="connsiteX6" fmla="*/ 8165325 w 9160545"/>
              <a:gd name="connsiteY6" fmla="*/ 6103434 h 6103434"/>
              <a:gd name="connsiteX7" fmla="*/ 0 w 9160545"/>
              <a:gd name="connsiteY7" fmla="*/ 6093909 h 6103434"/>
              <a:gd name="connsiteX8" fmla="*/ 9524 w 9160545"/>
              <a:gd name="connsiteY8" fmla="*/ 0 h 6103434"/>
              <a:gd name="connsiteX0" fmla="*/ 9524 w 9160545"/>
              <a:gd name="connsiteY0" fmla="*/ 0 h 6103434"/>
              <a:gd name="connsiteX1" fmla="*/ 6969937 w 9160545"/>
              <a:gd name="connsiteY1" fmla="*/ 7434 h 6103434"/>
              <a:gd name="connsiteX2" fmla="*/ 6973113 w 9160545"/>
              <a:gd name="connsiteY2" fmla="*/ 1731459 h 6103434"/>
              <a:gd name="connsiteX3" fmla="*/ 8691832 w 9160545"/>
              <a:gd name="connsiteY3" fmla="*/ 1733840 h 6103434"/>
              <a:gd name="connsiteX4" fmla="*/ 8692714 w 9160545"/>
              <a:gd name="connsiteY4" fmla="*/ 7602 h 6103434"/>
              <a:gd name="connsiteX5" fmla="*/ 9160545 w 9160545"/>
              <a:gd name="connsiteY5" fmla="*/ 7489 h 6103434"/>
              <a:gd name="connsiteX6" fmla="*/ 8165325 w 9160545"/>
              <a:gd name="connsiteY6" fmla="*/ 6103434 h 6103434"/>
              <a:gd name="connsiteX7" fmla="*/ 0 w 9160545"/>
              <a:gd name="connsiteY7" fmla="*/ 6093909 h 6103434"/>
              <a:gd name="connsiteX8" fmla="*/ 9524 w 9160545"/>
              <a:gd name="connsiteY8" fmla="*/ 0 h 6103434"/>
              <a:gd name="connsiteX0" fmla="*/ 9524 w 9163069"/>
              <a:gd name="connsiteY0" fmla="*/ 0 h 6105816"/>
              <a:gd name="connsiteX1" fmla="*/ 6969937 w 9163069"/>
              <a:gd name="connsiteY1" fmla="*/ 7434 h 6105816"/>
              <a:gd name="connsiteX2" fmla="*/ 6973113 w 9163069"/>
              <a:gd name="connsiteY2" fmla="*/ 1731459 h 6105816"/>
              <a:gd name="connsiteX3" fmla="*/ 8691832 w 9163069"/>
              <a:gd name="connsiteY3" fmla="*/ 1733840 h 6105816"/>
              <a:gd name="connsiteX4" fmla="*/ 8692714 w 9163069"/>
              <a:gd name="connsiteY4" fmla="*/ 7602 h 6105816"/>
              <a:gd name="connsiteX5" fmla="*/ 9160545 w 9163069"/>
              <a:gd name="connsiteY5" fmla="*/ 7489 h 6105816"/>
              <a:gd name="connsiteX6" fmla="*/ 9163069 w 9163069"/>
              <a:gd name="connsiteY6" fmla="*/ 6105816 h 6105816"/>
              <a:gd name="connsiteX7" fmla="*/ 0 w 9163069"/>
              <a:gd name="connsiteY7" fmla="*/ 6093909 h 6105816"/>
              <a:gd name="connsiteX8" fmla="*/ 9524 w 9163069"/>
              <a:gd name="connsiteY8" fmla="*/ 0 h 6105816"/>
              <a:gd name="connsiteX0" fmla="*/ 9524 w 9163069"/>
              <a:gd name="connsiteY0" fmla="*/ 0 h 6166776"/>
              <a:gd name="connsiteX1" fmla="*/ 6969937 w 9163069"/>
              <a:gd name="connsiteY1" fmla="*/ 7434 h 6166776"/>
              <a:gd name="connsiteX2" fmla="*/ 6973113 w 9163069"/>
              <a:gd name="connsiteY2" fmla="*/ 1731459 h 6166776"/>
              <a:gd name="connsiteX3" fmla="*/ 8691832 w 9163069"/>
              <a:gd name="connsiteY3" fmla="*/ 1733840 h 6166776"/>
              <a:gd name="connsiteX4" fmla="*/ 8692714 w 9163069"/>
              <a:gd name="connsiteY4" fmla="*/ 7602 h 6166776"/>
              <a:gd name="connsiteX5" fmla="*/ 9160545 w 9163069"/>
              <a:gd name="connsiteY5" fmla="*/ 7489 h 6166776"/>
              <a:gd name="connsiteX6" fmla="*/ 9163069 w 9163069"/>
              <a:gd name="connsiteY6" fmla="*/ 6166776 h 6166776"/>
              <a:gd name="connsiteX7" fmla="*/ 0 w 9163069"/>
              <a:gd name="connsiteY7" fmla="*/ 6093909 h 6166776"/>
              <a:gd name="connsiteX8" fmla="*/ 9524 w 9163069"/>
              <a:gd name="connsiteY8" fmla="*/ 0 h 6166776"/>
              <a:gd name="connsiteX0" fmla="*/ 0 w 9153545"/>
              <a:gd name="connsiteY0" fmla="*/ 0 h 6170109"/>
              <a:gd name="connsiteX1" fmla="*/ 6960413 w 9153545"/>
              <a:gd name="connsiteY1" fmla="*/ 7434 h 6170109"/>
              <a:gd name="connsiteX2" fmla="*/ 6963589 w 9153545"/>
              <a:gd name="connsiteY2" fmla="*/ 1731459 h 6170109"/>
              <a:gd name="connsiteX3" fmla="*/ 8682308 w 9153545"/>
              <a:gd name="connsiteY3" fmla="*/ 1733840 h 6170109"/>
              <a:gd name="connsiteX4" fmla="*/ 8683190 w 9153545"/>
              <a:gd name="connsiteY4" fmla="*/ 7602 h 6170109"/>
              <a:gd name="connsiteX5" fmla="*/ 9151021 w 9153545"/>
              <a:gd name="connsiteY5" fmla="*/ 7489 h 6170109"/>
              <a:gd name="connsiteX6" fmla="*/ 9153545 w 9153545"/>
              <a:gd name="connsiteY6" fmla="*/ 6166776 h 6170109"/>
              <a:gd name="connsiteX7" fmla="*/ 4493896 w 9153545"/>
              <a:gd name="connsiteY7" fmla="*/ 6170109 h 6170109"/>
              <a:gd name="connsiteX8" fmla="*/ 0 w 9153545"/>
              <a:gd name="connsiteY8" fmla="*/ 0 h 6170109"/>
              <a:gd name="connsiteX0" fmla="*/ 0 w 9153545"/>
              <a:gd name="connsiteY0" fmla="*/ 0 h 6170109"/>
              <a:gd name="connsiteX1" fmla="*/ 6960413 w 9153545"/>
              <a:gd name="connsiteY1" fmla="*/ 7434 h 6170109"/>
              <a:gd name="connsiteX2" fmla="*/ 6963589 w 9153545"/>
              <a:gd name="connsiteY2" fmla="*/ 1731459 h 6170109"/>
              <a:gd name="connsiteX3" fmla="*/ 8682308 w 9153545"/>
              <a:gd name="connsiteY3" fmla="*/ 1733840 h 6170109"/>
              <a:gd name="connsiteX4" fmla="*/ 8683190 w 9153545"/>
              <a:gd name="connsiteY4" fmla="*/ 7602 h 6170109"/>
              <a:gd name="connsiteX5" fmla="*/ 9151021 w 9153545"/>
              <a:gd name="connsiteY5" fmla="*/ 7489 h 6170109"/>
              <a:gd name="connsiteX6" fmla="*/ 9153545 w 9153545"/>
              <a:gd name="connsiteY6" fmla="*/ 6166776 h 6170109"/>
              <a:gd name="connsiteX7" fmla="*/ 4493896 w 9153545"/>
              <a:gd name="connsiteY7" fmla="*/ 6170109 h 6170109"/>
              <a:gd name="connsiteX8" fmla="*/ 0 w 9153545"/>
              <a:gd name="connsiteY8" fmla="*/ 0 h 6170109"/>
              <a:gd name="connsiteX0" fmla="*/ 0 w 9153545"/>
              <a:gd name="connsiteY0" fmla="*/ 0 h 6170109"/>
              <a:gd name="connsiteX1" fmla="*/ 6960413 w 9153545"/>
              <a:gd name="connsiteY1" fmla="*/ 7434 h 6170109"/>
              <a:gd name="connsiteX2" fmla="*/ 6963589 w 9153545"/>
              <a:gd name="connsiteY2" fmla="*/ 1731459 h 6170109"/>
              <a:gd name="connsiteX3" fmla="*/ 8682308 w 9153545"/>
              <a:gd name="connsiteY3" fmla="*/ 1733840 h 6170109"/>
              <a:gd name="connsiteX4" fmla="*/ 8683190 w 9153545"/>
              <a:gd name="connsiteY4" fmla="*/ 7602 h 6170109"/>
              <a:gd name="connsiteX5" fmla="*/ 9151021 w 9153545"/>
              <a:gd name="connsiteY5" fmla="*/ 7489 h 6170109"/>
              <a:gd name="connsiteX6" fmla="*/ 9153545 w 9153545"/>
              <a:gd name="connsiteY6" fmla="*/ 6166776 h 6170109"/>
              <a:gd name="connsiteX7" fmla="*/ 4493896 w 9153545"/>
              <a:gd name="connsiteY7" fmla="*/ 6170109 h 6170109"/>
              <a:gd name="connsiteX8" fmla="*/ 0 w 9153545"/>
              <a:gd name="connsiteY8" fmla="*/ 0 h 6170109"/>
              <a:gd name="connsiteX0" fmla="*/ 0 w 9153545"/>
              <a:gd name="connsiteY0" fmla="*/ 0 h 6170109"/>
              <a:gd name="connsiteX1" fmla="*/ 6960413 w 9153545"/>
              <a:gd name="connsiteY1" fmla="*/ 7434 h 6170109"/>
              <a:gd name="connsiteX2" fmla="*/ 6963589 w 9153545"/>
              <a:gd name="connsiteY2" fmla="*/ 1731459 h 6170109"/>
              <a:gd name="connsiteX3" fmla="*/ 8682308 w 9153545"/>
              <a:gd name="connsiteY3" fmla="*/ 1733840 h 6170109"/>
              <a:gd name="connsiteX4" fmla="*/ 8683190 w 9153545"/>
              <a:gd name="connsiteY4" fmla="*/ 7602 h 6170109"/>
              <a:gd name="connsiteX5" fmla="*/ 9151021 w 9153545"/>
              <a:gd name="connsiteY5" fmla="*/ 7489 h 6170109"/>
              <a:gd name="connsiteX6" fmla="*/ 9153545 w 9153545"/>
              <a:gd name="connsiteY6" fmla="*/ 6166776 h 6170109"/>
              <a:gd name="connsiteX7" fmla="*/ 4493896 w 9153545"/>
              <a:gd name="connsiteY7" fmla="*/ 6170109 h 6170109"/>
              <a:gd name="connsiteX8" fmla="*/ 0 w 9153545"/>
              <a:gd name="connsiteY8" fmla="*/ 0 h 6170109"/>
              <a:gd name="connsiteX0" fmla="*/ 17144 w 4659649"/>
              <a:gd name="connsiteY0" fmla="*/ 0 h 6170109"/>
              <a:gd name="connsiteX1" fmla="*/ 2466517 w 4659649"/>
              <a:gd name="connsiteY1" fmla="*/ 7434 h 6170109"/>
              <a:gd name="connsiteX2" fmla="*/ 2469693 w 4659649"/>
              <a:gd name="connsiteY2" fmla="*/ 1731459 h 6170109"/>
              <a:gd name="connsiteX3" fmla="*/ 4188412 w 4659649"/>
              <a:gd name="connsiteY3" fmla="*/ 1733840 h 6170109"/>
              <a:gd name="connsiteX4" fmla="*/ 4189294 w 4659649"/>
              <a:gd name="connsiteY4" fmla="*/ 7602 h 6170109"/>
              <a:gd name="connsiteX5" fmla="*/ 4657125 w 4659649"/>
              <a:gd name="connsiteY5" fmla="*/ 7489 h 6170109"/>
              <a:gd name="connsiteX6" fmla="*/ 4659649 w 4659649"/>
              <a:gd name="connsiteY6" fmla="*/ 6166776 h 6170109"/>
              <a:gd name="connsiteX7" fmla="*/ 0 w 4659649"/>
              <a:gd name="connsiteY7" fmla="*/ 6170109 h 6170109"/>
              <a:gd name="connsiteX8" fmla="*/ 17144 w 4659649"/>
              <a:gd name="connsiteY8" fmla="*/ 0 h 6170109"/>
              <a:gd name="connsiteX0" fmla="*/ 786764 w 5429269"/>
              <a:gd name="connsiteY0" fmla="*/ 0 h 6695889"/>
              <a:gd name="connsiteX1" fmla="*/ 3236137 w 5429269"/>
              <a:gd name="connsiteY1" fmla="*/ 7434 h 6695889"/>
              <a:gd name="connsiteX2" fmla="*/ 3239313 w 5429269"/>
              <a:gd name="connsiteY2" fmla="*/ 1731459 h 6695889"/>
              <a:gd name="connsiteX3" fmla="*/ 4958032 w 5429269"/>
              <a:gd name="connsiteY3" fmla="*/ 1733840 h 6695889"/>
              <a:gd name="connsiteX4" fmla="*/ 4958914 w 5429269"/>
              <a:gd name="connsiteY4" fmla="*/ 7602 h 6695889"/>
              <a:gd name="connsiteX5" fmla="*/ 5426745 w 5429269"/>
              <a:gd name="connsiteY5" fmla="*/ 7489 h 6695889"/>
              <a:gd name="connsiteX6" fmla="*/ 5429269 w 5429269"/>
              <a:gd name="connsiteY6" fmla="*/ 6166776 h 6695889"/>
              <a:gd name="connsiteX7" fmla="*/ 0 w 5429269"/>
              <a:gd name="connsiteY7" fmla="*/ 6695889 h 6695889"/>
              <a:gd name="connsiteX8" fmla="*/ 786764 w 5429269"/>
              <a:gd name="connsiteY8" fmla="*/ 0 h 6695889"/>
              <a:gd name="connsiteX0" fmla="*/ 946784 w 5589289"/>
              <a:gd name="connsiteY0" fmla="*/ 0 h 6871149"/>
              <a:gd name="connsiteX1" fmla="*/ 3396157 w 5589289"/>
              <a:gd name="connsiteY1" fmla="*/ 7434 h 6871149"/>
              <a:gd name="connsiteX2" fmla="*/ 3399333 w 5589289"/>
              <a:gd name="connsiteY2" fmla="*/ 1731459 h 6871149"/>
              <a:gd name="connsiteX3" fmla="*/ 5118052 w 5589289"/>
              <a:gd name="connsiteY3" fmla="*/ 1733840 h 6871149"/>
              <a:gd name="connsiteX4" fmla="*/ 5118934 w 5589289"/>
              <a:gd name="connsiteY4" fmla="*/ 7602 h 6871149"/>
              <a:gd name="connsiteX5" fmla="*/ 5586765 w 5589289"/>
              <a:gd name="connsiteY5" fmla="*/ 7489 h 6871149"/>
              <a:gd name="connsiteX6" fmla="*/ 5589289 w 5589289"/>
              <a:gd name="connsiteY6" fmla="*/ 6166776 h 6871149"/>
              <a:gd name="connsiteX7" fmla="*/ 0 w 5589289"/>
              <a:gd name="connsiteY7" fmla="*/ 6871149 h 6871149"/>
              <a:gd name="connsiteX8" fmla="*/ 946784 w 5589289"/>
              <a:gd name="connsiteY8" fmla="*/ 0 h 6871149"/>
              <a:gd name="connsiteX0" fmla="*/ 946784 w 5589289"/>
              <a:gd name="connsiteY0" fmla="*/ 0 h 6871149"/>
              <a:gd name="connsiteX1" fmla="*/ 3396157 w 5589289"/>
              <a:gd name="connsiteY1" fmla="*/ 7434 h 6871149"/>
              <a:gd name="connsiteX2" fmla="*/ 3399333 w 5589289"/>
              <a:gd name="connsiteY2" fmla="*/ 1731459 h 6871149"/>
              <a:gd name="connsiteX3" fmla="*/ 5118052 w 5589289"/>
              <a:gd name="connsiteY3" fmla="*/ 1733840 h 6871149"/>
              <a:gd name="connsiteX4" fmla="*/ 5118934 w 5589289"/>
              <a:gd name="connsiteY4" fmla="*/ 7602 h 6871149"/>
              <a:gd name="connsiteX5" fmla="*/ 5586765 w 5589289"/>
              <a:gd name="connsiteY5" fmla="*/ 7489 h 6871149"/>
              <a:gd name="connsiteX6" fmla="*/ 5589289 w 5589289"/>
              <a:gd name="connsiteY6" fmla="*/ 6166776 h 6871149"/>
              <a:gd name="connsiteX7" fmla="*/ 0 w 5589289"/>
              <a:gd name="connsiteY7" fmla="*/ 6871149 h 6871149"/>
              <a:gd name="connsiteX8" fmla="*/ 946784 w 5589289"/>
              <a:gd name="connsiteY8" fmla="*/ 0 h 6871149"/>
              <a:gd name="connsiteX0" fmla="*/ 946784 w 5589289"/>
              <a:gd name="connsiteY0" fmla="*/ 0 h 6871149"/>
              <a:gd name="connsiteX1" fmla="*/ 3396157 w 5589289"/>
              <a:gd name="connsiteY1" fmla="*/ 7434 h 6871149"/>
              <a:gd name="connsiteX2" fmla="*/ 3399333 w 5589289"/>
              <a:gd name="connsiteY2" fmla="*/ 1731459 h 6871149"/>
              <a:gd name="connsiteX3" fmla="*/ 5118052 w 5589289"/>
              <a:gd name="connsiteY3" fmla="*/ 1733840 h 6871149"/>
              <a:gd name="connsiteX4" fmla="*/ 5118934 w 5589289"/>
              <a:gd name="connsiteY4" fmla="*/ 7602 h 6871149"/>
              <a:gd name="connsiteX5" fmla="*/ 5586765 w 5589289"/>
              <a:gd name="connsiteY5" fmla="*/ 7489 h 6871149"/>
              <a:gd name="connsiteX6" fmla="*/ 5589289 w 5589289"/>
              <a:gd name="connsiteY6" fmla="*/ 6166776 h 6871149"/>
              <a:gd name="connsiteX7" fmla="*/ 0 w 5589289"/>
              <a:gd name="connsiteY7" fmla="*/ 6871149 h 6871149"/>
              <a:gd name="connsiteX8" fmla="*/ 946784 w 5589289"/>
              <a:gd name="connsiteY8" fmla="*/ 0 h 6871149"/>
              <a:gd name="connsiteX0" fmla="*/ 946784 w 5589289"/>
              <a:gd name="connsiteY0" fmla="*/ 0 h 6871149"/>
              <a:gd name="connsiteX1" fmla="*/ 3396157 w 5589289"/>
              <a:gd name="connsiteY1" fmla="*/ 7434 h 6871149"/>
              <a:gd name="connsiteX2" fmla="*/ 3399333 w 5589289"/>
              <a:gd name="connsiteY2" fmla="*/ 1731459 h 6871149"/>
              <a:gd name="connsiteX3" fmla="*/ 5118052 w 5589289"/>
              <a:gd name="connsiteY3" fmla="*/ 1733840 h 6871149"/>
              <a:gd name="connsiteX4" fmla="*/ 5118934 w 5589289"/>
              <a:gd name="connsiteY4" fmla="*/ 7602 h 6871149"/>
              <a:gd name="connsiteX5" fmla="*/ 5586765 w 5589289"/>
              <a:gd name="connsiteY5" fmla="*/ 7489 h 6871149"/>
              <a:gd name="connsiteX6" fmla="*/ 5589289 w 5589289"/>
              <a:gd name="connsiteY6" fmla="*/ 6166776 h 6871149"/>
              <a:gd name="connsiteX7" fmla="*/ 0 w 5589289"/>
              <a:gd name="connsiteY7" fmla="*/ 6871149 h 6871149"/>
              <a:gd name="connsiteX8" fmla="*/ 946784 w 5589289"/>
              <a:gd name="connsiteY8" fmla="*/ 0 h 6871149"/>
              <a:gd name="connsiteX0" fmla="*/ 32384 w 5589289"/>
              <a:gd name="connsiteY0" fmla="*/ 186 h 6863715"/>
              <a:gd name="connsiteX1" fmla="*/ 3396157 w 5589289"/>
              <a:gd name="connsiteY1" fmla="*/ 0 h 6863715"/>
              <a:gd name="connsiteX2" fmla="*/ 3399333 w 5589289"/>
              <a:gd name="connsiteY2" fmla="*/ 1724025 h 6863715"/>
              <a:gd name="connsiteX3" fmla="*/ 5118052 w 5589289"/>
              <a:gd name="connsiteY3" fmla="*/ 1726406 h 6863715"/>
              <a:gd name="connsiteX4" fmla="*/ 5118934 w 5589289"/>
              <a:gd name="connsiteY4" fmla="*/ 168 h 6863715"/>
              <a:gd name="connsiteX5" fmla="*/ 5586765 w 5589289"/>
              <a:gd name="connsiteY5" fmla="*/ 55 h 6863715"/>
              <a:gd name="connsiteX6" fmla="*/ 5589289 w 5589289"/>
              <a:gd name="connsiteY6" fmla="*/ 6159342 h 6863715"/>
              <a:gd name="connsiteX7" fmla="*/ 0 w 5589289"/>
              <a:gd name="connsiteY7" fmla="*/ 6863715 h 6863715"/>
              <a:gd name="connsiteX8" fmla="*/ 32384 w 5589289"/>
              <a:gd name="connsiteY8" fmla="*/ 186 h 6863715"/>
              <a:gd name="connsiteX0" fmla="*/ 32384 w 5589289"/>
              <a:gd name="connsiteY0" fmla="*/ 186 h 6863715"/>
              <a:gd name="connsiteX1" fmla="*/ 3396157 w 5589289"/>
              <a:gd name="connsiteY1" fmla="*/ 0 h 6863715"/>
              <a:gd name="connsiteX2" fmla="*/ 3399333 w 5589289"/>
              <a:gd name="connsiteY2" fmla="*/ 1724025 h 6863715"/>
              <a:gd name="connsiteX3" fmla="*/ 5118052 w 5589289"/>
              <a:gd name="connsiteY3" fmla="*/ 1726406 h 6863715"/>
              <a:gd name="connsiteX4" fmla="*/ 5118934 w 5589289"/>
              <a:gd name="connsiteY4" fmla="*/ 168 h 6863715"/>
              <a:gd name="connsiteX5" fmla="*/ 5586765 w 5589289"/>
              <a:gd name="connsiteY5" fmla="*/ 55 h 6863715"/>
              <a:gd name="connsiteX6" fmla="*/ 5589289 w 5589289"/>
              <a:gd name="connsiteY6" fmla="*/ 6860382 h 6863715"/>
              <a:gd name="connsiteX7" fmla="*/ 0 w 5589289"/>
              <a:gd name="connsiteY7" fmla="*/ 6863715 h 6863715"/>
              <a:gd name="connsiteX8" fmla="*/ 32384 w 5589289"/>
              <a:gd name="connsiteY8" fmla="*/ 186 h 6863715"/>
              <a:gd name="connsiteX0" fmla="*/ 0 w 5595005"/>
              <a:gd name="connsiteY0" fmla="*/ 186 h 6863715"/>
              <a:gd name="connsiteX1" fmla="*/ 3401873 w 5595005"/>
              <a:gd name="connsiteY1" fmla="*/ 0 h 6863715"/>
              <a:gd name="connsiteX2" fmla="*/ 3405049 w 5595005"/>
              <a:gd name="connsiteY2" fmla="*/ 1724025 h 6863715"/>
              <a:gd name="connsiteX3" fmla="*/ 5123768 w 5595005"/>
              <a:gd name="connsiteY3" fmla="*/ 1726406 h 6863715"/>
              <a:gd name="connsiteX4" fmla="*/ 5124650 w 5595005"/>
              <a:gd name="connsiteY4" fmla="*/ 168 h 6863715"/>
              <a:gd name="connsiteX5" fmla="*/ 5592481 w 5595005"/>
              <a:gd name="connsiteY5" fmla="*/ 55 h 6863715"/>
              <a:gd name="connsiteX6" fmla="*/ 5595005 w 5595005"/>
              <a:gd name="connsiteY6" fmla="*/ 6860382 h 6863715"/>
              <a:gd name="connsiteX7" fmla="*/ 5716 w 5595005"/>
              <a:gd name="connsiteY7" fmla="*/ 6863715 h 6863715"/>
              <a:gd name="connsiteX8" fmla="*/ 0 w 5595005"/>
              <a:gd name="connsiteY8" fmla="*/ 186 h 6863715"/>
              <a:gd name="connsiteX0" fmla="*/ 1076327 w 5589292"/>
              <a:gd name="connsiteY0" fmla="*/ 186 h 6863715"/>
              <a:gd name="connsiteX1" fmla="*/ 3396160 w 5589292"/>
              <a:gd name="connsiteY1" fmla="*/ 0 h 6863715"/>
              <a:gd name="connsiteX2" fmla="*/ 3399336 w 5589292"/>
              <a:gd name="connsiteY2" fmla="*/ 1724025 h 6863715"/>
              <a:gd name="connsiteX3" fmla="*/ 5118055 w 5589292"/>
              <a:gd name="connsiteY3" fmla="*/ 1726406 h 6863715"/>
              <a:gd name="connsiteX4" fmla="*/ 5118937 w 5589292"/>
              <a:gd name="connsiteY4" fmla="*/ 168 h 6863715"/>
              <a:gd name="connsiteX5" fmla="*/ 5586768 w 5589292"/>
              <a:gd name="connsiteY5" fmla="*/ 55 h 6863715"/>
              <a:gd name="connsiteX6" fmla="*/ 5589292 w 5589292"/>
              <a:gd name="connsiteY6" fmla="*/ 6860382 h 6863715"/>
              <a:gd name="connsiteX7" fmla="*/ 3 w 5589292"/>
              <a:gd name="connsiteY7" fmla="*/ 6863715 h 6863715"/>
              <a:gd name="connsiteX8" fmla="*/ 1076327 w 5589292"/>
              <a:gd name="connsiteY8" fmla="*/ 186 h 6863715"/>
              <a:gd name="connsiteX0" fmla="*/ 0 w 4512965"/>
              <a:gd name="connsiteY0" fmla="*/ 186 h 6860382"/>
              <a:gd name="connsiteX1" fmla="*/ 2319833 w 4512965"/>
              <a:gd name="connsiteY1" fmla="*/ 0 h 6860382"/>
              <a:gd name="connsiteX2" fmla="*/ 2323009 w 4512965"/>
              <a:gd name="connsiteY2" fmla="*/ 1724025 h 6860382"/>
              <a:gd name="connsiteX3" fmla="*/ 4041728 w 4512965"/>
              <a:gd name="connsiteY3" fmla="*/ 1726406 h 6860382"/>
              <a:gd name="connsiteX4" fmla="*/ 4042610 w 4512965"/>
              <a:gd name="connsiteY4" fmla="*/ 168 h 6860382"/>
              <a:gd name="connsiteX5" fmla="*/ 4510441 w 4512965"/>
              <a:gd name="connsiteY5" fmla="*/ 55 h 6860382"/>
              <a:gd name="connsiteX6" fmla="*/ 4512965 w 4512965"/>
              <a:gd name="connsiteY6" fmla="*/ 6860382 h 6860382"/>
              <a:gd name="connsiteX7" fmla="*/ 5716 w 4512965"/>
              <a:gd name="connsiteY7" fmla="*/ 6856095 h 6860382"/>
              <a:gd name="connsiteX8" fmla="*/ 0 w 4512965"/>
              <a:gd name="connsiteY8" fmla="*/ 186 h 6860382"/>
              <a:gd name="connsiteX0" fmla="*/ 0 w 4512965"/>
              <a:gd name="connsiteY0" fmla="*/ 186 h 6871335"/>
              <a:gd name="connsiteX1" fmla="*/ 2319833 w 4512965"/>
              <a:gd name="connsiteY1" fmla="*/ 0 h 6871335"/>
              <a:gd name="connsiteX2" fmla="*/ 2323009 w 4512965"/>
              <a:gd name="connsiteY2" fmla="*/ 1724025 h 6871335"/>
              <a:gd name="connsiteX3" fmla="*/ 4041728 w 4512965"/>
              <a:gd name="connsiteY3" fmla="*/ 1726406 h 6871335"/>
              <a:gd name="connsiteX4" fmla="*/ 4042610 w 4512965"/>
              <a:gd name="connsiteY4" fmla="*/ 168 h 6871335"/>
              <a:gd name="connsiteX5" fmla="*/ 4510441 w 4512965"/>
              <a:gd name="connsiteY5" fmla="*/ 55 h 6871335"/>
              <a:gd name="connsiteX6" fmla="*/ 4512965 w 4512965"/>
              <a:gd name="connsiteY6" fmla="*/ 6860382 h 6871335"/>
              <a:gd name="connsiteX7" fmla="*/ 13336 w 4512965"/>
              <a:gd name="connsiteY7" fmla="*/ 6871335 h 6871335"/>
              <a:gd name="connsiteX8" fmla="*/ 0 w 4512965"/>
              <a:gd name="connsiteY8" fmla="*/ 186 h 6871335"/>
              <a:gd name="connsiteX0" fmla="*/ 0 w 4512965"/>
              <a:gd name="connsiteY0" fmla="*/ 186 h 6863715"/>
              <a:gd name="connsiteX1" fmla="*/ 2319833 w 4512965"/>
              <a:gd name="connsiteY1" fmla="*/ 0 h 6863715"/>
              <a:gd name="connsiteX2" fmla="*/ 2323009 w 4512965"/>
              <a:gd name="connsiteY2" fmla="*/ 1724025 h 6863715"/>
              <a:gd name="connsiteX3" fmla="*/ 4041728 w 4512965"/>
              <a:gd name="connsiteY3" fmla="*/ 1726406 h 6863715"/>
              <a:gd name="connsiteX4" fmla="*/ 4042610 w 4512965"/>
              <a:gd name="connsiteY4" fmla="*/ 168 h 6863715"/>
              <a:gd name="connsiteX5" fmla="*/ 4510441 w 4512965"/>
              <a:gd name="connsiteY5" fmla="*/ 55 h 6863715"/>
              <a:gd name="connsiteX6" fmla="*/ 4512965 w 4512965"/>
              <a:gd name="connsiteY6" fmla="*/ 6860382 h 6863715"/>
              <a:gd name="connsiteX7" fmla="*/ 13336 w 4512965"/>
              <a:gd name="connsiteY7" fmla="*/ 6863715 h 6863715"/>
              <a:gd name="connsiteX8" fmla="*/ 0 w 4512965"/>
              <a:gd name="connsiteY8" fmla="*/ 186 h 6863715"/>
              <a:gd name="connsiteX0" fmla="*/ 0 w 4512965"/>
              <a:gd name="connsiteY0" fmla="*/ 186 h 6863715"/>
              <a:gd name="connsiteX1" fmla="*/ 2319833 w 4512965"/>
              <a:gd name="connsiteY1" fmla="*/ 0 h 6863715"/>
              <a:gd name="connsiteX2" fmla="*/ 2323009 w 4512965"/>
              <a:gd name="connsiteY2" fmla="*/ 1724025 h 6863715"/>
              <a:gd name="connsiteX3" fmla="*/ 4041728 w 4512965"/>
              <a:gd name="connsiteY3" fmla="*/ 1726406 h 6863715"/>
              <a:gd name="connsiteX4" fmla="*/ 4042610 w 4512965"/>
              <a:gd name="connsiteY4" fmla="*/ 168 h 6863715"/>
              <a:gd name="connsiteX5" fmla="*/ 4510441 w 4512965"/>
              <a:gd name="connsiteY5" fmla="*/ 55 h 6863715"/>
              <a:gd name="connsiteX6" fmla="*/ 4512965 w 4512965"/>
              <a:gd name="connsiteY6" fmla="*/ 6860382 h 6863715"/>
              <a:gd name="connsiteX7" fmla="*/ 13336 w 4512965"/>
              <a:gd name="connsiteY7" fmla="*/ 6863715 h 6863715"/>
              <a:gd name="connsiteX8" fmla="*/ 0 w 4512965"/>
              <a:gd name="connsiteY8" fmla="*/ 186 h 6863715"/>
              <a:gd name="connsiteX0" fmla="*/ 0 w 4512965"/>
              <a:gd name="connsiteY0" fmla="*/ 186 h 6863715"/>
              <a:gd name="connsiteX1" fmla="*/ 2319833 w 4512965"/>
              <a:gd name="connsiteY1" fmla="*/ 0 h 6863715"/>
              <a:gd name="connsiteX2" fmla="*/ 2323009 w 4512965"/>
              <a:gd name="connsiteY2" fmla="*/ 1724025 h 6863715"/>
              <a:gd name="connsiteX3" fmla="*/ 4041728 w 4512965"/>
              <a:gd name="connsiteY3" fmla="*/ 1726406 h 6863715"/>
              <a:gd name="connsiteX4" fmla="*/ 4042610 w 4512965"/>
              <a:gd name="connsiteY4" fmla="*/ 168 h 6863715"/>
              <a:gd name="connsiteX5" fmla="*/ 4510441 w 4512965"/>
              <a:gd name="connsiteY5" fmla="*/ 55 h 6863715"/>
              <a:gd name="connsiteX6" fmla="*/ 4512965 w 4512965"/>
              <a:gd name="connsiteY6" fmla="*/ 6860382 h 6863715"/>
              <a:gd name="connsiteX7" fmla="*/ 13336 w 4512965"/>
              <a:gd name="connsiteY7" fmla="*/ 6863715 h 6863715"/>
              <a:gd name="connsiteX8" fmla="*/ 0 w 4512965"/>
              <a:gd name="connsiteY8" fmla="*/ 186 h 6863715"/>
              <a:gd name="connsiteX0" fmla="*/ 0 w 4512965"/>
              <a:gd name="connsiteY0" fmla="*/ 186 h 6863715"/>
              <a:gd name="connsiteX1" fmla="*/ 2319833 w 4512965"/>
              <a:gd name="connsiteY1" fmla="*/ 0 h 6863715"/>
              <a:gd name="connsiteX2" fmla="*/ 2323009 w 4512965"/>
              <a:gd name="connsiteY2" fmla="*/ 1724025 h 6863715"/>
              <a:gd name="connsiteX3" fmla="*/ 4041728 w 4512965"/>
              <a:gd name="connsiteY3" fmla="*/ 1726406 h 6863715"/>
              <a:gd name="connsiteX4" fmla="*/ 4042610 w 4512965"/>
              <a:gd name="connsiteY4" fmla="*/ 168 h 6863715"/>
              <a:gd name="connsiteX5" fmla="*/ 4510441 w 4512965"/>
              <a:gd name="connsiteY5" fmla="*/ 55 h 6863715"/>
              <a:gd name="connsiteX6" fmla="*/ 4512965 w 4512965"/>
              <a:gd name="connsiteY6" fmla="*/ 6860382 h 6863715"/>
              <a:gd name="connsiteX7" fmla="*/ 13336 w 4512965"/>
              <a:gd name="connsiteY7" fmla="*/ 6863715 h 6863715"/>
              <a:gd name="connsiteX8" fmla="*/ 0 w 4512965"/>
              <a:gd name="connsiteY8" fmla="*/ 186 h 6863715"/>
              <a:gd name="connsiteX0" fmla="*/ 0 w 4512965"/>
              <a:gd name="connsiteY0" fmla="*/ 186 h 6863715"/>
              <a:gd name="connsiteX1" fmla="*/ 2319833 w 4512965"/>
              <a:gd name="connsiteY1" fmla="*/ 0 h 6863715"/>
              <a:gd name="connsiteX2" fmla="*/ 2323009 w 4512965"/>
              <a:gd name="connsiteY2" fmla="*/ 1724025 h 6863715"/>
              <a:gd name="connsiteX3" fmla="*/ 4041728 w 4512965"/>
              <a:gd name="connsiteY3" fmla="*/ 1726406 h 6863715"/>
              <a:gd name="connsiteX4" fmla="*/ 4042610 w 4512965"/>
              <a:gd name="connsiteY4" fmla="*/ 168 h 6863715"/>
              <a:gd name="connsiteX5" fmla="*/ 4510441 w 4512965"/>
              <a:gd name="connsiteY5" fmla="*/ 55 h 6863715"/>
              <a:gd name="connsiteX6" fmla="*/ 4512965 w 4512965"/>
              <a:gd name="connsiteY6" fmla="*/ 6860382 h 6863715"/>
              <a:gd name="connsiteX7" fmla="*/ 92711 w 4512965"/>
              <a:gd name="connsiteY7" fmla="*/ 6863715 h 6863715"/>
              <a:gd name="connsiteX8" fmla="*/ 0 w 4512965"/>
              <a:gd name="connsiteY8" fmla="*/ 186 h 6863715"/>
              <a:gd name="connsiteX0" fmla="*/ 0 w 4512965"/>
              <a:gd name="connsiteY0" fmla="*/ 186 h 6860540"/>
              <a:gd name="connsiteX1" fmla="*/ 2319833 w 4512965"/>
              <a:gd name="connsiteY1" fmla="*/ 0 h 6860540"/>
              <a:gd name="connsiteX2" fmla="*/ 2323009 w 4512965"/>
              <a:gd name="connsiteY2" fmla="*/ 1724025 h 6860540"/>
              <a:gd name="connsiteX3" fmla="*/ 4041728 w 4512965"/>
              <a:gd name="connsiteY3" fmla="*/ 1726406 h 6860540"/>
              <a:gd name="connsiteX4" fmla="*/ 4042610 w 4512965"/>
              <a:gd name="connsiteY4" fmla="*/ 168 h 6860540"/>
              <a:gd name="connsiteX5" fmla="*/ 4510441 w 4512965"/>
              <a:gd name="connsiteY5" fmla="*/ 55 h 6860540"/>
              <a:gd name="connsiteX6" fmla="*/ 4512965 w 4512965"/>
              <a:gd name="connsiteY6" fmla="*/ 6860382 h 6860540"/>
              <a:gd name="connsiteX7" fmla="*/ 10161 w 4512965"/>
              <a:gd name="connsiteY7" fmla="*/ 6860540 h 6860540"/>
              <a:gd name="connsiteX8" fmla="*/ 0 w 4512965"/>
              <a:gd name="connsiteY8" fmla="*/ 186 h 6860540"/>
              <a:gd name="connsiteX0" fmla="*/ 5714 w 4502804"/>
              <a:gd name="connsiteY0" fmla="*/ 186 h 6860540"/>
              <a:gd name="connsiteX1" fmla="*/ 2309672 w 4502804"/>
              <a:gd name="connsiteY1" fmla="*/ 0 h 6860540"/>
              <a:gd name="connsiteX2" fmla="*/ 2312848 w 4502804"/>
              <a:gd name="connsiteY2" fmla="*/ 1724025 h 6860540"/>
              <a:gd name="connsiteX3" fmla="*/ 4031567 w 4502804"/>
              <a:gd name="connsiteY3" fmla="*/ 1726406 h 6860540"/>
              <a:gd name="connsiteX4" fmla="*/ 4032449 w 4502804"/>
              <a:gd name="connsiteY4" fmla="*/ 168 h 6860540"/>
              <a:gd name="connsiteX5" fmla="*/ 4500280 w 4502804"/>
              <a:gd name="connsiteY5" fmla="*/ 55 h 6860540"/>
              <a:gd name="connsiteX6" fmla="*/ 4502804 w 4502804"/>
              <a:gd name="connsiteY6" fmla="*/ 6860382 h 6860540"/>
              <a:gd name="connsiteX7" fmla="*/ 0 w 4502804"/>
              <a:gd name="connsiteY7" fmla="*/ 6860540 h 6860540"/>
              <a:gd name="connsiteX8" fmla="*/ 5714 w 4502804"/>
              <a:gd name="connsiteY8" fmla="*/ 186 h 6860540"/>
              <a:gd name="connsiteX0" fmla="*/ 380364 w 4502804"/>
              <a:gd name="connsiteY0" fmla="*/ 238311 h 6860540"/>
              <a:gd name="connsiteX1" fmla="*/ 2309672 w 4502804"/>
              <a:gd name="connsiteY1" fmla="*/ 0 h 6860540"/>
              <a:gd name="connsiteX2" fmla="*/ 2312848 w 4502804"/>
              <a:gd name="connsiteY2" fmla="*/ 1724025 h 6860540"/>
              <a:gd name="connsiteX3" fmla="*/ 4031567 w 4502804"/>
              <a:gd name="connsiteY3" fmla="*/ 1726406 h 6860540"/>
              <a:gd name="connsiteX4" fmla="*/ 4032449 w 4502804"/>
              <a:gd name="connsiteY4" fmla="*/ 168 h 6860540"/>
              <a:gd name="connsiteX5" fmla="*/ 4500280 w 4502804"/>
              <a:gd name="connsiteY5" fmla="*/ 55 h 6860540"/>
              <a:gd name="connsiteX6" fmla="*/ 4502804 w 4502804"/>
              <a:gd name="connsiteY6" fmla="*/ 6860382 h 6860540"/>
              <a:gd name="connsiteX7" fmla="*/ 0 w 4502804"/>
              <a:gd name="connsiteY7" fmla="*/ 6860540 h 6860540"/>
              <a:gd name="connsiteX8" fmla="*/ 380364 w 4502804"/>
              <a:gd name="connsiteY8" fmla="*/ 238311 h 6860540"/>
              <a:gd name="connsiteX0" fmla="*/ 2539 w 4502804"/>
              <a:gd name="connsiteY0" fmla="*/ 0 h 6863529"/>
              <a:gd name="connsiteX1" fmla="*/ 2309672 w 4502804"/>
              <a:gd name="connsiteY1" fmla="*/ 2989 h 6863529"/>
              <a:gd name="connsiteX2" fmla="*/ 2312848 w 4502804"/>
              <a:gd name="connsiteY2" fmla="*/ 1727014 h 6863529"/>
              <a:gd name="connsiteX3" fmla="*/ 4031567 w 4502804"/>
              <a:gd name="connsiteY3" fmla="*/ 1729395 h 6863529"/>
              <a:gd name="connsiteX4" fmla="*/ 4032449 w 4502804"/>
              <a:gd name="connsiteY4" fmla="*/ 3157 h 6863529"/>
              <a:gd name="connsiteX5" fmla="*/ 4500280 w 4502804"/>
              <a:gd name="connsiteY5" fmla="*/ 3044 h 6863529"/>
              <a:gd name="connsiteX6" fmla="*/ 4502804 w 4502804"/>
              <a:gd name="connsiteY6" fmla="*/ 6863371 h 6863529"/>
              <a:gd name="connsiteX7" fmla="*/ 0 w 4502804"/>
              <a:gd name="connsiteY7" fmla="*/ 6863529 h 6863529"/>
              <a:gd name="connsiteX8" fmla="*/ 2539 w 4502804"/>
              <a:gd name="connsiteY8" fmla="*/ 0 h 6863529"/>
              <a:gd name="connsiteX0" fmla="*/ 659764 w 4502804"/>
              <a:gd name="connsiteY0" fmla="*/ 0 h 6863529"/>
              <a:gd name="connsiteX1" fmla="*/ 2309672 w 4502804"/>
              <a:gd name="connsiteY1" fmla="*/ 2989 h 6863529"/>
              <a:gd name="connsiteX2" fmla="*/ 2312848 w 4502804"/>
              <a:gd name="connsiteY2" fmla="*/ 1727014 h 6863529"/>
              <a:gd name="connsiteX3" fmla="*/ 4031567 w 4502804"/>
              <a:gd name="connsiteY3" fmla="*/ 1729395 h 6863529"/>
              <a:gd name="connsiteX4" fmla="*/ 4032449 w 4502804"/>
              <a:gd name="connsiteY4" fmla="*/ 3157 h 6863529"/>
              <a:gd name="connsiteX5" fmla="*/ 4500280 w 4502804"/>
              <a:gd name="connsiteY5" fmla="*/ 3044 h 6863529"/>
              <a:gd name="connsiteX6" fmla="*/ 4502804 w 4502804"/>
              <a:gd name="connsiteY6" fmla="*/ 6863371 h 6863529"/>
              <a:gd name="connsiteX7" fmla="*/ 0 w 4502804"/>
              <a:gd name="connsiteY7" fmla="*/ 6863529 h 6863529"/>
              <a:gd name="connsiteX8" fmla="*/ 659764 w 4502804"/>
              <a:gd name="connsiteY8" fmla="*/ 0 h 6863529"/>
              <a:gd name="connsiteX0" fmla="*/ 2539 w 3845579"/>
              <a:gd name="connsiteY0" fmla="*/ 0 h 6863529"/>
              <a:gd name="connsiteX1" fmla="*/ 1652447 w 3845579"/>
              <a:gd name="connsiteY1" fmla="*/ 2989 h 6863529"/>
              <a:gd name="connsiteX2" fmla="*/ 1655623 w 3845579"/>
              <a:gd name="connsiteY2" fmla="*/ 1727014 h 6863529"/>
              <a:gd name="connsiteX3" fmla="*/ 3374342 w 3845579"/>
              <a:gd name="connsiteY3" fmla="*/ 1729395 h 6863529"/>
              <a:gd name="connsiteX4" fmla="*/ 3375224 w 3845579"/>
              <a:gd name="connsiteY4" fmla="*/ 3157 h 6863529"/>
              <a:gd name="connsiteX5" fmla="*/ 3843055 w 3845579"/>
              <a:gd name="connsiteY5" fmla="*/ 3044 h 6863529"/>
              <a:gd name="connsiteX6" fmla="*/ 3845579 w 3845579"/>
              <a:gd name="connsiteY6" fmla="*/ 6863371 h 6863529"/>
              <a:gd name="connsiteX7" fmla="*/ 0 w 3845579"/>
              <a:gd name="connsiteY7" fmla="*/ 6863529 h 6863529"/>
              <a:gd name="connsiteX8" fmla="*/ 2539 w 3845579"/>
              <a:gd name="connsiteY8" fmla="*/ 0 h 6863529"/>
              <a:gd name="connsiteX0" fmla="*/ 0 w 9148465"/>
              <a:gd name="connsiteY0" fmla="*/ 0 h 6863529"/>
              <a:gd name="connsiteX1" fmla="*/ 6955333 w 9148465"/>
              <a:gd name="connsiteY1" fmla="*/ 2989 h 6863529"/>
              <a:gd name="connsiteX2" fmla="*/ 6958509 w 9148465"/>
              <a:gd name="connsiteY2" fmla="*/ 1727014 h 6863529"/>
              <a:gd name="connsiteX3" fmla="*/ 8677228 w 9148465"/>
              <a:gd name="connsiteY3" fmla="*/ 1729395 h 6863529"/>
              <a:gd name="connsiteX4" fmla="*/ 8678110 w 9148465"/>
              <a:gd name="connsiteY4" fmla="*/ 3157 h 6863529"/>
              <a:gd name="connsiteX5" fmla="*/ 9145941 w 9148465"/>
              <a:gd name="connsiteY5" fmla="*/ 3044 h 6863529"/>
              <a:gd name="connsiteX6" fmla="*/ 9148465 w 9148465"/>
              <a:gd name="connsiteY6" fmla="*/ 6863371 h 6863529"/>
              <a:gd name="connsiteX7" fmla="*/ 5302886 w 9148465"/>
              <a:gd name="connsiteY7" fmla="*/ 6863529 h 6863529"/>
              <a:gd name="connsiteX8" fmla="*/ 0 w 9148465"/>
              <a:gd name="connsiteY8" fmla="*/ 0 h 6863529"/>
              <a:gd name="connsiteX0" fmla="*/ 2539 w 9151004"/>
              <a:gd name="connsiteY0" fmla="*/ 0 h 6863529"/>
              <a:gd name="connsiteX1" fmla="*/ 6957872 w 9151004"/>
              <a:gd name="connsiteY1" fmla="*/ 2989 h 6863529"/>
              <a:gd name="connsiteX2" fmla="*/ 6961048 w 9151004"/>
              <a:gd name="connsiteY2" fmla="*/ 1727014 h 6863529"/>
              <a:gd name="connsiteX3" fmla="*/ 8679767 w 9151004"/>
              <a:gd name="connsiteY3" fmla="*/ 1729395 h 6863529"/>
              <a:gd name="connsiteX4" fmla="*/ 8680649 w 9151004"/>
              <a:gd name="connsiteY4" fmla="*/ 3157 h 6863529"/>
              <a:gd name="connsiteX5" fmla="*/ 9148480 w 9151004"/>
              <a:gd name="connsiteY5" fmla="*/ 3044 h 6863529"/>
              <a:gd name="connsiteX6" fmla="*/ 9151004 w 9151004"/>
              <a:gd name="connsiteY6" fmla="*/ 6863371 h 6863529"/>
              <a:gd name="connsiteX7" fmla="*/ 0 w 9151004"/>
              <a:gd name="connsiteY7" fmla="*/ 6863529 h 6863529"/>
              <a:gd name="connsiteX8" fmla="*/ 2539 w 9151004"/>
              <a:gd name="connsiteY8" fmla="*/ 0 h 6863529"/>
              <a:gd name="connsiteX0" fmla="*/ 3 w 9148468"/>
              <a:gd name="connsiteY0" fmla="*/ 0 h 6863371"/>
              <a:gd name="connsiteX1" fmla="*/ 6955336 w 9148468"/>
              <a:gd name="connsiteY1" fmla="*/ 2989 h 6863371"/>
              <a:gd name="connsiteX2" fmla="*/ 6958512 w 9148468"/>
              <a:gd name="connsiteY2" fmla="*/ 1727014 h 6863371"/>
              <a:gd name="connsiteX3" fmla="*/ 8677231 w 9148468"/>
              <a:gd name="connsiteY3" fmla="*/ 1729395 h 6863371"/>
              <a:gd name="connsiteX4" fmla="*/ 8678113 w 9148468"/>
              <a:gd name="connsiteY4" fmla="*/ 3157 h 6863371"/>
              <a:gd name="connsiteX5" fmla="*/ 9145944 w 9148468"/>
              <a:gd name="connsiteY5" fmla="*/ 3044 h 6863371"/>
              <a:gd name="connsiteX6" fmla="*/ 9148468 w 9148468"/>
              <a:gd name="connsiteY6" fmla="*/ 6863371 h 6863371"/>
              <a:gd name="connsiteX7" fmla="*/ 906454 w 9148468"/>
              <a:gd name="connsiteY7" fmla="*/ 5397242 h 6863371"/>
              <a:gd name="connsiteX8" fmla="*/ 3 w 9148468"/>
              <a:gd name="connsiteY8" fmla="*/ 0 h 6863371"/>
              <a:gd name="connsiteX0" fmla="*/ 345 w 9148810"/>
              <a:gd name="connsiteY0" fmla="*/ 0 h 6863371"/>
              <a:gd name="connsiteX1" fmla="*/ 6955678 w 9148810"/>
              <a:gd name="connsiteY1" fmla="*/ 2989 h 6863371"/>
              <a:gd name="connsiteX2" fmla="*/ 6958854 w 9148810"/>
              <a:gd name="connsiteY2" fmla="*/ 1727014 h 6863371"/>
              <a:gd name="connsiteX3" fmla="*/ 8677573 w 9148810"/>
              <a:gd name="connsiteY3" fmla="*/ 1729395 h 6863371"/>
              <a:gd name="connsiteX4" fmla="*/ 8678455 w 9148810"/>
              <a:gd name="connsiteY4" fmla="*/ 3157 h 6863371"/>
              <a:gd name="connsiteX5" fmla="*/ 9146286 w 9148810"/>
              <a:gd name="connsiteY5" fmla="*/ 3044 h 6863371"/>
              <a:gd name="connsiteX6" fmla="*/ 9148810 w 9148810"/>
              <a:gd name="connsiteY6" fmla="*/ 6863371 h 6863371"/>
              <a:gd name="connsiteX7" fmla="*/ 3217 w 9148810"/>
              <a:gd name="connsiteY7" fmla="*/ 5148352 h 6863371"/>
              <a:gd name="connsiteX8" fmla="*/ 345 w 9148810"/>
              <a:gd name="connsiteY8" fmla="*/ 0 h 6863371"/>
              <a:gd name="connsiteX0" fmla="*/ 345 w 9146296"/>
              <a:gd name="connsiteY0" fmla="*/ 0 h 5359210"/>
              <a:gd name="connsiteX1" fmla="*/ 6955678 w 9146296"/>
              <a:gd name="connsiteY1" fmla="*/ 2989 h 5359210"/>
              <a:gd name="connsiteX2" fmla="*/ 6958854 w 9146296"/>
              <a:gd name="connsiteY2" fmla="*/ 1727014 h 5359210"/>
              <a:gd name="connsiteX3" fmla="*/ 8677573 w 9146296"/>
              <a:gd name="connsiteY3" fmla="*/ 1729395 h 5359210"/>
              <a:gd name="connsiteX4" fmla="*/ 8678455 w 9146296"/>
              <a:gd name="connsiteY4" fmla="*/ 3157 h 5359210"/>
              <a:gd name="connsiteX5" fmla="*/ 9146286 w 9146296"/>
              <a:gd name="connsiteY5" fmla="*/ 3044 h 5359210"/>
              <a:gd name="connsiteX6" fmla="*/ 9100114 w 9146296"/>
              <a:gd name="connsiteY6" fmla="*/ 5359210 h 5359210"/>
              <a:gd name="connsiteX7" fmla="*/ 3217 w 9146296"/>
              <a:gd name="connsiteY7" fmla="*/ 5148352 h 5359210"/>
              <a:gd name="connsiteX8" fmla="*/ 345 w 9146296"/>
              <a:gd name="connsiteY8" fmla="*/ 0 h 5359210"/>
              <a:gd name="connsiteX0" fmla="*/ 345 w 9148810"/>
              <a:gd name="connsiteY0" fmla="*/ 0 h 5148352"/>
              <a:gd name="connsiteX1" fmla="*/ 6955678 w 9148810"/>
              <a:gd name="connsiteY1" fmla="*/ 2989 h 5148352"/>
              <a:gd name="connsiteX2" fmla="*/ 6958854 w 9148810"/>
              <a:gd name="connsiteY2" fmla="*/ 1727014 h 5148352"/>
              <a:gd name="connsiteX3" fmla="*/ 8677573 w 9148810"/>
              <a:gd name="connsiteY3" fmla="*/ 1729395 h 5148352"/>
              <a:gd name="connsiteX4" fmla="*/ 8678455 w 9148810"/>
              <a:gd name="connsiteY4" fmla="*/ 3157 h 5148352"/>
              <a:gd name="connsiteX5" fmla="*/ 9146286 w 9148810"/>
              <a:gd name="connsiteY5" fmla="*/ 3044 h 5148352"/>
              <a:gd name="connsiteX6" fmla="*/ 9148810 w 9148810"/>
              <a:gd name="connsiteY6" fmla="*/ 5137373 h 5148352"/>
              <a:gd name="connsiteX7" fmla="*/ 3217 w 9148810"/>
              <a:gd name="connsiteY7" fmla="*/ 5148352 h 5148352"/>
              <a:gd name="connsiteX8" fmla="*/ 345 w 9148810"/>
              <a:gd name="connsiteY8" fmla="*/ 0 h 5148352"/>
              <a:gd name="connsiteX0" fmla="*/ 345 w 9148810"/>
              <a:gd name="connsiteY0" fmla="*/ 0 h 5148352"/>
              <a:gd name="connsiteX1" fmla="*/ 6955678 w 9148810"/>
              <a:gd name="connsiteY1" fmla="*/ 2989 h 5148352"/>
              <a:gd name="connsiteX2" fmla="*/ 6958854 w 9148810"/>
              <a:gd name="connsiteY2" fmla="*/ 1727014 h 5148352"/>
              <a:gd name="connsiteX3" fmla="*/ 8677573 w 9148810"/>
              <a:gd name="connsiteY3" fmla="*/ 1729395 h 5148352"/>
              <a:gd name="connsiteX4" fmla="*/ 8678455 w 9148810"/>
              <a:gd name="connsiteY4" fmla="*/ 3157 h 5148352"/>
              <a:gd name="connsiteX5" fmla="*/ 9146286 w 9148810"/>
              <a:gd name="connsiteY5" fmla="*/ 3044 h 5148352"/>
              <a:gd name="connsiteX6" fmla="*/ 9148810 w 9148810"/>
              <a:gd name="connsiteY6" fmla="*/ 5146898 h 5148352"/>
              <a:gd name="connsiteX7" fmla="*/ 3217 w 9148810"/>
              <a:gd name="connsiteY7" fmla="*/ 5148352 h 5148352"/>
              <a:gd name="connsiteX8" fmla="*/ 345 w 9148810"/>
              <a:gd name="connsiteY8" fmla="*/ 0 h 5148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148810" h="5148352">
                <a:moveTo>
                  <a:pt x="345" y="0"/>
                </a:moveTo>
                <a:lnTo>
                  <a:pt x="6955678" y="2989"/>
                </a:lnTo>
                <a:cubicBezTo>
                  <a:pt x="6957530" y="577664"/>
                  <a:pt x="6957002" y="1152339"/>
                  <a:pt x="6958854" y="1727014"/>
                </a:cubicBezTo>
                <a:lnTo>
                  <a:pt x="8677573" y="1729395"/>
                </a:lnTo>
                <a:cubicBezTo>
                  <a:pt x="8677073" y="1154776"/>
                  <a:pt x="8678955" y="577776"/>
                  <a:pt x="8678455" y="3157"/>
                </a:cubicBezTo>
                <a:lnTo>
                  <a:pt x="9146286" y="3044"/>
                </a:lnTo>
                <a:cubicBezTo>
                  <a:pt x="9147127" y="2035820"/>
                  <a:pt x="9147548" y="1716734"/>
                  <a:pt x="9148810" y="5146898"/>
                </a:cubicBezTo>
                <a:lnTo>
                  <a:pt x="3217" y="5148352"/>
                </a:lnTo>
                <a:cubicBezTo>
                  <a:pt x="5122" y="2861567"/>
                  <a:pt x="-1560" y="2286785"/>
                  <a:pt x="345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de-DE"/>
          </a:p>
        </p:txBody>
      </p:sp>
      <p:sp>
        <p:nvSpPr>
          <p:cNvPr id="9" name="Titel 3"/>
          <p:cNvSpPr>
            <a:spLocks noGrp="1"/>
          </p:cNvSpPr>
          <p:nvPr>
            <p:ph type="title"/>
          </p:nvPr>
        </p:nvSpPr>
        <p:spPr>
          <a:xfrm>
            <a:off x="1115616" y="1995686"/>
            <a:ext cx="5472509" cy="1477327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1"/>
          </p:nvPr>
        </p:nvSpPr>
        <p:spPr>
          <a:xfrm>
            <a:off x="1116013" y="3418563"/>
            <a:ext cx="5472112" cy="1152525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8488" y="-1587"/>
            <a:ext cx="1727200" cy="172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50681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 HERVORHEBUNG MIT VIEL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88A6D120-9FDF-4BA4-88F2-0C6E4507EEA9}"/>
              </a:ext>
            </a:extLst>
          </p:cNvPr>
          <p:cNvSpPr/>
          <p:nvPr userDrawn="1"/>
        </p:nvSpPr>
        <p:spPr>
          <a:xfrm>
            <a:off x="0" y="0"/>
            <a:ext cx="9144000" cy="514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5F15F71-44DB-4D13-AE55-D28F1D1B73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000" y="756000"/>
            <a:ext cx="8172000" cy="720000"/>
          </a:xfrm>
        </p:spPr>
        <p:txBody>
          <a:bodyPr/>
          <a:lstStyle>
            <a:lvl1pPr>
              <a:lnSpc>
                <a:spcPts val="5700"/>
              </a:lnSpc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de-DE"/>
              <a:t>Kapitel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F3B6EDCF-E80D-4E83-A8E4-8D2B26F44C7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8000" y="1476441"/>
            <a:ext cx="8172000" cy="1439863"/>
          </a:xfrm>
        </p:spPr>
        <p:txBody>
          <a:bodyPr/>
          <a:lstStyle>
            <a:lvl1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1pPr>
            <a:lvl2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2pPr>
            <a:lvl3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3pPr>
            <a:lvl4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4pPr>
            <a:lvl5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5pPr>
            <a:lvl6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6pPr>
            <a:lvl7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7pPr>
            <a:lvl8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8pPr>
            <a:lvl9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Hervorhebung</a:t>
            </a:r>
          </a:p>
        </p:txBody>
      </p:sp>
    </p:spTree>
    <p:extLst>
      <p:ext uri="{BB962C8B-B14F-4D97-AF65-F5344CB8AC3E}">
        <p14:creationId xmlns:p14="http://schemas.microsoft.com/office/powerpoint/2010/main" val="29108949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 HERVORHEBUNG MIT VIEL INHALT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88A6D120-9FDF-4BA4-88F2-0C6E4507EEA9}"/>
              </a:ext>
            </a:extLst>
          </p:cNvPr>
          <p:cNvSpPr/>
          <p:nvPr userDrawn="1"/>
        </p:nvSpPr>
        <p:spPr>
          <a:xfrm>
            <a:off x="0" y="0"/>
            <a:ext cx="9144000" cy="514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5F15F71-44DB-4D13-AE55-D28F1D1B73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000" y="828000"/>
            <a:ext cx="8172000" cy="540000"/>
          </a:xfrm>
        </p:spPr>
        <p:txBody>
          <a:bodyPr/>
          <a:lstStyle>
            <a:lvl1pPr>
              <a:lnSpc>
                <a:spcPts val="44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de-DE"/>
              <a:t>Kapitel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F3B6EDCF-E80D-4E83-A8E4-8D2B26F44C7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8000" y="1367999"/>
            <a:ext cx="8172000" cy="2916000"/>
          </a:xfrm>
        </p:spPr>
        <p:txBody>
          <a:bodyPr/>
          <a:lstStyle>
            <a:lvl1pPr>
              <a:lnSpc>
                <a:spcPts val="4400"/>
              </a:lnSpc>
              <a:spcAft>
                <a:spcPts val="0"/>
              </a:spcAft>
              <a:defRPr sz="3600" b="0">
                <a:solidFill>
                  <a:schemeClr val="bg1"/>
                </a:solidFill>
              </a:defRPr>
            </a:lvl1pPr>
            <a:lvl2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2pPr>
            <a:lvl3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3pPr>
            <a:lvl4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4pPr>
            <a:lvl5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5pPr>
            <a:lvl6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6pPr>
            <a:lvl7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7pPr>
            <a:lvl8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8pPr>
            <a:lvl9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Hervorhebung</a:t>
            </a:r>
          </a:p>
          <a:p>
            <a:pPr lvl="1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970510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Headline /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KAPITEL | CHART-HEADLIN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2pPr defTabSz="234000">
              <a:tabLst>
                <a:tab pos="234000" algn="l"/>
              </a:tabLst>
              <a:defRPr/>
            </a:lvl2pPr>
            <a:lvl3pPr defTabSz="234000">
              <a:tabLst>
                <a:tab pos="234000" algn="l"/>
              </a:tabLst>
              <a:defRPr/>
            </a:lvl3pPr>
            <a:lvl4pPr defTabSz="234000">
              <a:tabLst>
                <a:tab pos="234000" algn="l"/>
              </a:tabLst>
              <a:defRPr/>
            </a:lvl4pPr>
            <a:lvl5pPr defTabSz="234000">
              <a:tabLst>
                <a:tab pos="234000" algn="l"/>
              </a:tabLst>
              <a:defRPr/>
            </a:lvl5pPr>
            <a:lvl6pPr marL="0" indent="0" defTabSz="234000">
              <a:buFont typeface="+mj-lt"/>
              <a:buNone/>
              <a:tabLst>
                <a:tab pos="234000" algn="l"/>
              </a:tabLst>
              <a:defRPr/>
            </a:lvl6pPr>
            <a:lvl7pPr defTabSz="234000">
              <a:tabLst>
                <a:tab pos="234000" algn="l"/>
              </a:tabLst>
              <a:defRPr/>
            </a:lvl7pPr>
            <a:lvl8pPr defTabSz="234000">
              <a:tabLst>
                <a:tab pos="234000" algn="l"/>
              </a:tabLst>
              <a:defRPr/>
            </a:lvl8pPr>
            <a:lvl9pPr defTabSz="234000">
              <a:tabLst>
                <a:tab pos="234000" algn="l"/>
              </a:tabLst>
              <a:defRPr/>
            </a:lvl9pPr>
          </a:lstStyle>
          <a:p>
            <a:pPr lvl="0"/>
            <a:r>
              <a:rPr lang="de-DE" err="1"/>
              <a:t>Subline</a:t>
            </a:r>
            <a:r>
              <a:rPr lang="de-DE"/>
              <a:t> auf erster Ebene // für weitere Ebenen &gt;&gt; Menü &gt; Start &gt; Absatz &gt; Listenebene erhöhen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3705867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//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KAPITEL | CHART-HEADLI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</a:p>
        </p:txBody>
      </p:sp>
      <p:sp>
        <p:nvSpPr>
          <p:cNvPr id="5" name="Tabellenplatzhalter 4">
            <a:extLst>
              <a:ext uri="{FF2B5EF4-FFF2-40B4-BE49-F238E27FC236}">
                <a16:creationId xmlns:a16="http://schemas.microsoft.com/office/drawing/2014/main" id="{F5A8BB0B-4BD0-4791-8A9B-89C9D0000E35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468000" y="918000"/>
            <a:ext cx="8172000" cy="336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Tabelle durch Klicken auf Symbol hinzufügen</a:t>
            </a:r>
          </a:p>
        </p:txBody>
      </p:sp>
      <p:grpSp>
        <p:nvGrpSpPr>
          <p:cNvPr id="6" name="Regieanweisungen">
            <a:extLst>
              <a:ext uri="{FF2B5EF4-FFF2-40B4-BE49-F238E27FC236}">
                <a16:creationId xmlns:a16="http://schemas.microsoft.com/office/drawing/2014/main" id="{20CE116F-C667-495A-B654-8B72C3A079E7}"/>
              </a:ext>
            </a:extLst>
          </p:cNvPr>
          <p:cNvGrpSpPr/>
          <p:nvPr userDrawn="1"/>
        </p:nvGrpSpPr>
        <p:grpSpPr>
          <a:xfrm>
            <a:off x="-2628800" y="-468000"/>
            <a:ext cx="14833648" cy="6083999"/>
            <a:chOff x="-2628800" y="-468000"/>
            <a:chExt cx="14833648" cy="6083999"/>
          </a:xfrm>
        </p:grpSpPr>
        <p:sp>
          <p:nvSpPr>
            <p:cNvPr id="16" name="Listenebenen">
              <a:extLst>
                <a:ext uri="{FF2B5EF4-FFF2-40B4-BE49-F238E27FC236}">
                  <a16:creationId xmlns:a16="http://schemas.microsoft.com/office/drawing/2014/main" id="{84A0104B-AA90-4DE7-ADAE-6959FBC15DB1}"/>
                </a:ext>
              </a:extLst>
            </p:cNvPr>
            <p:cNvSpPr txBox="1"/>
            <p:nvPr userDrawn="1"/>
          </p:nvSpPr>
          <p:spPr>
            <a:xfrm rot="10800000" flipH="1" flipV="1">
              <a:off x="-2628800" y="1368000"/>
              <a:ext cx="2520800" cy="1527786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0" baseline="0">
                  <a:solidFill>
                    <a:schemeClr val="tx1"/>
                  </a:solidFill>
                  <a:latin typeface="+mn-lt"/>
                </a:rPr>
                <a:t>Einfärbung einer Spalte/Zeile: </a:t>
              </a:r>
              <a:br>
                <a:rPr lang="de-DE" sz="1200" b="0" baseline="0">
                  <a:solidFill>
                    <a:schemeClr val="tx1"/>
                  </a:solidFill>
                  <a:latin typeface="+mn-lt"/>
                </a:rPr>
              </a:br>
              <a:r>
                <a:rPr lang="de-DE" sz="1200" b="1" baseline="0">
                  <a:solidFill>
                    <a:schemeClr val="tx1"/>
                  </a:solidFill>
                  <a:latin typeface="+mn-lt"/>
                </a:rPr>
                <a:t>Markieren der Spalte/Zeile:</a:t>
              </a:r>
            </a:p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1" baseline="0">
                  <a:solidFill>
                    <a:schemeClr val="tx1"/>
                  </a:solidFill>
                  <a:latin typeface="+mn-lt"/>
                </a:rPr>
                <a:t> Entwurf / Tabellentools &gt; Schattierung &gt;</a:t>
              </a:r>
            </a:p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de-DE" sz="1200" b="1" baseline="0">
                <a:solidFill>
                  <a:schemeClr val="tx1"/>
                </a:solidFill>
                <a:latin typeface="+mn-lt"/>
              </a:endParaRPr>
            </a:p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1" baseline="0">
                  <a:solidFill>
                    <a:schemeClr val="tx1"/>
                  </a:solidFill>
                  <a:latin typeface="+mn-lt"/>
                </a:rPr>
                <a:t>Die gewünschte Farbe aus den Designfarben auswählen</a:t>
              </a:r>
            </a:p>
          </p:txBody>
        </p:sp>
        <p:sp>
          <p:nvSpPr>
            <p:cNvPr id="10" name="Zurücksetzen">
              <a:extLst>
                <a:ext uri="{FF2B5EF4-FFF2-40B4-BE49-F238E27FC236}">
                  <a16:creationId xmlns:a16="http://schemas.microsoft.com/office/drawing/2014/main" id="{431D1FFE-03BA-4520-A89B-CDD1BC7E4751}"/>
                </a:ext>
              </a:extLst>
            </p:cNvPr>
            <p:cNvSpPr txBox="1"/>
            <p:nvPr userDrawn="1"/>
          </p:nvSpPr>
          <p:spPr>
            <a:xfrm rot="10800000" flipH="1" flipV="1">
              <a:off x="9252000" y="648000"/>
              <a:ext cx="1944000" cy="61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1" baseline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38EA8585-E11F-4D10-9DAB-78E6756B2D63}"/>
                </a:ext>
              </a:extLst>
            </p:cNvPr>
            <p:cNvSpPr txBox="1"/>
            <p:nvPr userDrawn="1"/>
          </p:nvSpPr>
          <p:spPr>
            <a:xfrm rot="10800000" flipH="1" flipV="1">
              <a:off x="431801" y="-468000"/>
              <a:ext cx="82804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334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öschen einer Spalte/Zeile: </a:t>
              </a:r>
              <a:r>
                <a:rPr kumimoji="0" lang="de-DE" sz="12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Markieren der Spalte/Zeile: Layout &gt; Löschen &gt; Spalte bzw. Zeile löschen</a:t>
              </a:r>
            </a:p>
          </p:txBody>
        </p:sp>
        <p:sp>
          <p:nvSpPr>
            <p:cNvPr id="12" name="Fußzeile">
              <a:extLst>
                <a:ext uri="{FF2B5EF4-FFF2-40B4-BE49-F238E27FC236}">
                  <a16:creationId xmlns:a16="http://schemas.microsoft.com/office/drawing/2014/main" id="{4EFB3271-7B15-42ED-A704-B39FAEDC1436}"/>
                </a:ext>
              </a:extLst>
            </p:cNvPr>
            <p:cNvSpPr txBox="1"/>
            <p:nvPr userDrawn="1"/>
          </p:nvSpPr>
          <p:spPr>
            <a:xfrm rot="10800000" flipH="1" flipV="1">
              <a:off x="431800" y="5255998"/>
              <a:ext cx="8280400" cy="360001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334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0" baseline="0">
                  <a:solidFill>
                    <a:schemeClr val="tx1"/>
                  </a:solidFill>
                  <a:latin typeface="+mn-lt"/>
                </a:rPr>
                <a:t>Fußzeile anpassen: </a:t>
              </a:r>
              <a:r>
                <a:rPr lang="de-DE" sz="1200" b="1" baseline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  <p:sp>
          <p:nvSpPr>
            <p:cNvPr id="13" name="Layoutwechsel">
              <a:extLst>
                <a:ext uri="{FF2B5EF4-FFF2-40B4-BE49-F238E27FC236}">
                  <a16:creationId xmlns:a16="http://schemas.microsoft.com/office/drawing/2014/main" id="{6BCDAEA0-53BC-4E57-84CA-5C530F05A90E}"/>
                </a:ext>
              </a:extLst>
            </p:cNvPr>
            <p:cNvSpPr txBox="1"/>
            <p:nvPr userDrawn="1"/>
          </p:nvSpPr>
          <p:spPr>
            <a:xfrm rot="10800000" flipH="1" flipV="1">
              <a:off x="9252000" y="2283786"/>
              <a:ext cx="2952848" cy="1044048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>
                  <a:solidFill>
                    <a:schemeClr val="tx1"/>
                  </a:solidFill>
                  <a:latin typeface="+mn-lt"/>
                </a:rPr>
                <a:t>Einfügen einer Spalte/Zeile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1" baseline="0">
                  <a:solidFill>
                    <a:schemeClr val="tx1"/>
                  </a:solidFill>
                  <a:latin typeface="+mn-lt"/>
                </a:rPr>
                <a:t>Markieren der Spalte/Zeile neben der eine weitere eingefügt werden soll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1" baseline="0">
                  <a:solidFill>
                    <a:schemeClr val="tx1"/>
                  </a:solidFill>
                  <a:latin typeface="+mn-lt"/>
                </a:rPr>
                <a:t>Layout &gt; Hier die gewünschte Einfügeoption auswählen</a:t>
              </a:r>
            </a:p>
          </p:txBody>
        </p:sp>
      </p:grp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4573989D-8FFD-4555-AAB7-592C2CE3AC9F}"/>
              </a:ext>
            </a:extLst>
          </p:cNvPr>
          <p:cNvCxnSpPr/>
          <p:nvPr userDrawn="1"/>
        </p:nvCxnSpPr>
        <p:spPr>
          <a:xfrm>
            <a:off x="0" y="4485600"/>
            <a:ext cx="91440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fik 3">
            <a:extLst>
              <a:ext uri="{FF2B5EF4-FFF2-40B4-BE49-F238E27FC236}">
                <a16:creationId xmlns:a16="http://schemas.microsoft.com/office/drawing/2014/main" id="{F3269418-AEC9-43D6-9A0C-41CA02546BA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4513"/>
          <a:stretch/>
        </p:blipFill>
        <p:spPr>
          <a:xfrm>
            <a:off x="9252000" y="3327773"/>
            <a:ext cx="2067213" cy="864158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081CC49D-33BF-49DC-B533-86BE2EB412A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308000" y="4679640"/>
            <a:ext cx="1512000" cy="288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25419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Headline //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19031" y="405427"/>
            <a:ext cx="7560000" cy="468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KAPITEL | CHART-HEADLI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</a:p>
        </p:txBody>
      </p:sp>
      <p:grpSp>
        <p:nvGrpSpPr>
          <p:cNvPr id="6" name="Regieanweisungen">
            <a:extLst>
              <a:ext uri="{FF2B5EF4-FFF2-40B4-BE49-F238E27FC236}">
                <a16:creationId xmlns:a16="http://schemas.microsoft.com/office/drawing/2014/main" id="{20CE116F-C667-495A-B654-8B72C3A079E7}"/>
              </a:ext>
            </a:extLst>
          </p:cNvPr>
          <p:cNvGrpSpPr/>
          <p:nvPr userDrawn="1"/>
        </p:nvGrpSpPr>
        <p:grpSpPr>
          <a:xfrm>
            <a:off x="-2628800" y="-468000"/>
            <a:ext cx="14833648" cy="6083999"/>
            <a:chOff x="-2628800" y="-468000"/>
            <a:chExt cx="14833648" cy="6083999"/>
          </a:xfrm>
        </p:grpSpPr>
        <p:sp>
          <p:nvSpPr>
            <p:cNvPr id="16" name="Listenebenen">
              <a:extLst>
                <a:ext uri="{FF2B5EF4-FFF2-40B4-BE49-F238E27FC236}">
                  <a16:creationId xmlns:a16="http://schemas.microsoft.com/office/drawing/2014/main" id="{84A0104B-AA90-4DE7-ADAE-6959FBC15DB1}"/>
                </a:ext>
              </a:extLst>
            </p:cNvPr>
            <p:cNvSpPr txBox="1"/>
            <p:nvPr userDrawn="1"/>
          </p:nvSpPr>
          <p:spPr>
            <a:xfrm rot="10800000" flipH="1" flipV="1">
              <a:off x="-2628800" y="1368000"/>
              <a:ext cx="2520800" cy="1527786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0" baseline="0">
                  <a:solidFill>
                    <a:schemeClr val="tx1"/>
                  </a:solidFill>
                  <a:latin typeface="+mn-lt"/>
                </a:rPr>
                <a:t>Einfärbung einer Spalte/Zeile: </a:t>
              </a:r>
              <a:br>
                <a:rPr lang="de-DE" sz="1200" b="0" baseline="0">
                  <a:solidFill>
                    <a:schemeClr val="tx1"/>
                  </a:solidFill>
                  <a:latin typeface="+mn-lt"/>
                </a:rPr>
              </a:br>
              <a:r>
                <a:rPr lang="de-DE" sz="1200" b="1" baseline="0">
                  <a:solidFill>
                    <a:schemeClr val="tx1"/>
                  </a:solidFill>
                  <a:latin typeface="+mn-lt"/>
                </a:rPr>
                <a:t>Markieren der Spalte/Zeile:</a:t>
              </a:r>
            </a:p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1" baseline="0">
                  <a:solidFill>
                    <a:schemeClr val="tx1"/>
                  </a:solidFill>
                  <a:latin typeface="+mn-lt"/>
                </a:rPr>
                <a:t> Entwurf / Tabellentools &gt; Schattierung &gt;</a:t>
              </a:r>
            </a:p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de-DE" sz="1200" b="1" baseline="0">
                <a:solidFill>
                  <a:schemeClr val="tx1"/>
                </a:solidFill>
                <a:latin typeface="+mn-lt"/>
              </a:endParaRPr>
            </a:p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1" baseline="0">
                  <a:solidFill>
                    <a:schemeClr val="tx1"/>
                  </a:solidFill>
                  <a:latin typeface="+mn-lt"/>
                </a:rPr>
                <a:t>Die gewünschte Farbe aus den Designfarben auswählen</a:t>
              </a:r>
            </a:p>
          </p:txBody>
        </p:sp>
        <p:sp>
          <p:nvSpPr>
            <p:cNvPr id="10" name="Zurücksetzen">
              <a:extLst>
                <a:ext uri="{FF2B5EF4-FFF2-40B4-BE49-F238E27FC236}">
                  <a16:creationId xmlns:a16="http://schemas.microsoft.com/office/drawing/2014/main" id="{431D1FFE-03BA-4520-A89B-CDD1BC7E4751}"/>
                </a:ext>
              </a:extLst>
            </p:cNvPr>
            <p:cNvSpPr txBox="1"/>
            <p:nvPr userDrawn="1"/>
          </p:nvSpPr>
          <p:spPr>
            <a:xfrm rot="10800000" flipH="1" flipV="1">
              <a:off x="9252000" y="648000"/>
              <a:ext cx="1944000" cy="61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1" baseline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38EA8585-E11F-4D10-9DAB-78E6756B2D63}"/>
                </a:ext>
              </a:extLst>
            </p:cNvPr>
            <p:cNvSpPr txBox="1"/>
            <p:nvPr userDrawn="1"/>
          </p:nvSpPr>
          <p:spPr>
            <a:xfrm rot="10800000" flipH="1" flipV="1">
              <a:off x="431801" y="-468000"/>
              <a:ext cx="82804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334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öschen einer Spalte/Zeile: </a:t>
              </a:r>
              <a:r>
                <a:rPr kumimoji="0" lang="de-DE" sz="12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Markieren der Spalte/Zeile: Layout &gt; Löschen &gt; Spalte bzw. Zeile löschen</a:t>
              </a:r>
            </a:p>
          </p:txBody>
        </p:sp>
        <p:sp>
          <p:nvSpPr>
            <p:cNvPr id="12" name="Fußzeile">
              <a:extLst>
                <a:ext uri="{FF2B5EF4-FFF2-40B4-BE49-F238E27FC236}">
                  <a16:creationId xmlns:a16="http://schemas.microsoft.com/office/drawing/2014/main" id="{4EFB3271-7B15-42ED-A704-B39FAEDC1436}"/>
                </a:ext>
              </a:extLst>
            </p:cNvPr>
            <p:cNvSpPr txBox="1"/>
            <p:nvPr userDrawn="1"/>
          </p:nvSpPr>
          <p:spPr>
            <a:xfrm rot="10800000" flipH="1" flipV="1">
              <a:off x="431800" y="5255998"/>
              <a:ext cx="8280400" cy="360001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334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0" baseline="0">
                  <a:solidFill>
                    <a:schemeClr val="tx1"/>
                  </a:solidFill>
                  <a:latin typeface="+mn-lt"/>
                </a:rPr>
                <a:t>Fußzeile anpassen: </a:t>
              </a:r>
              <a:r>
                <a:rPr lang="de-DE" sz="1200" b="1" baseline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  <p:sp>
          <p:nvSpPr>
            <p:cNvPr id="13" name="Layoutwechsel">
              <a:extLst>
                <a:ext uri="{FF2B5EF4-FFF2-40B4-BE49-F238E27FC236}">
                  <a16:creationId xmlns:a16="http://schemas.microsoft.com/office/drawing/2014/main" id="{6BCDAEA0-53BC-4E57-84CA-5C530F05A90E}"/>
                </a:ext>
              </a:extLst>
            </p:cNvPr>
            <p:cNvSpPr txBox="1"/>
            <p:nvPr userDrawn="1"/>
          </p:nvSpPr>
          <p:spPr>
            <a:xfrm rot="10800000" flipH="1" flipV="1">
              <a:off x="9252000" y="2283786"/>
              <a:ext cx="2952848" cy="1044048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>
                  <a:solidFill>
                    <a:schemeClr val="tx1"/>
                  </a:solidFill>
                  <a:latin typeface="+mn-lt"/>
                </a:rPr>
                <a:t>Einfügen einer Spalte/Zeile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1" baseline="0">
                  <a:solidFill>
                    <a:schemeClr val="tx1"/>
                  </a:solidFill>
                  <a:latin typeface="+mn-lt"/>
                </a:rPr>
                <a:t>Markieren der Spalte/Zeile neben der eine weitere eingefügt werden soll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1" baseline="0">
                  <a:solidFill>
                    <a:schemeClr val="tx1"/>
                  </a:solidFill>
                  <a:latin typeface="+mn-lt"/>
                </a:rPr>
                <a:t>Layout &gt; Hier die gewünschte Einfügeoption auswählen</a:t>
              </a:r>
            </a:p>
          </p:txBody>
        </p:sp>
      </p:grp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4573989D-8FFD-4555-AAB7-592C2CE3AC9F}"/>
              </a:ext>
            </a:extLst>
          </p:cNvPr>
          <p:cNvCxnSpPr/>
          <p:nvPr userDrawn="1"/>
        </p:nvCxnSpPr>
        <p:spPr>
          <a:xfrm>
            <a:off x="0" y="4485600"/>
            <a:ext cx="91440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fik 3">
            <a:extLst>
              <a:ext uri="{FF2B5EF4-FFF2-40B4-BE49-F238E27FC236}">
                <a16:creationId xmlns:a16="http://schemas.microsoft.com/office/drawing/2014/main" id="{F3269418-AEC9-43D6-9A0C-41CA02546BA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4513"/>
          <a:stretch/>
        </p:blipFill>
        <p:spPr>
          <a:xfrm>
            <a:off x="9252000" y="3327773"/>
            <a:ext cx="2067213" cy="864158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081CC49D-33BF-49DC-B533-86BE2EB412A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308000" y="4679640"/>
            <a:ext cx="1512000" cy="288720"/>
          </a:xfrm>
          <a:prstGeom prst="rect">
            <a:avLst/>
          </a:prstGeom>
        </p:spPr>
      </p:pic>
      <p:sp>
        <p:nvSpPr>
          <p:cNvPr id="7" name="Bildplatzhalter 6">
            <a:extLst>
              <a:ext uri="{FF2B5EF4-FFF2-40B4-BE49-F238E27FC236}">
                <a16:creationId xmlns:a16="http://schemas.microsoft.com/office/drawing/2014/main" id="{EAA78F89-2ACB-412B-A15E-E0257394F08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25238" y="1058863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17" name="Bildplatzhalter 6">
            <a:extLst>
              <a:ext uri="{FF2B5EF4-FFF2-40B4-BE49-F238E27FC236}">
                <a16:creationId xmlns:a16="http://schemas.microsoft.com/office/drawing/2014/main" id="{53BA0682-B47F-4367-A3B8-D32510070C9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021886" y="1058863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18" name="Bildplatzhalter 6">
            <a:extLst>
              <a:ext uri="{FF2B5EF4-FFF2-40B4-BE49-F238E27FC236}">
                <a16:creationId xmlns:a16="http://schemas.microsoft.com/office/drawing/2014/main" id="{8A034563-AB29-4F37-B5BB-33456532395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818534" y="1060388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20" name="Bildplatzhalter 6">
            <a:extLst>
              <a:ext uri="{FF2B5EF4-FFF2-40B4-BE49-F238E27FC236}">
                <a16:creationId xmlns:a16="http://schemas.microsoft.com/office/drawing/2014/main" id="{0424F7CF-E57C-464B-8B50-5B9AC8DA959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615182" y="1060388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21" name="Bildplatzhalter 6">
            <a:extLst>
              <a:ext uri="{FF2B5EF4-FFF2-40B4-BE49-F238E27FC236}">
                <a16:creationId xmlns:a16="http://schemas.microsoft.com/office/drawing/2014/main" id="{710B0DF4-ED82-43E1-BDB1-7320C123D7E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25238" y="2827188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22" name="Bildplatzhalter 6">
            <a:extLst>
              <a:ext uri="{FF2B5EF4-FFF2-40B4-BE49-F238E27FC236}">
                <a16:creationId xmlns:a16="http://schemas.microsoft.com/office/drawing/2014/main" id="{B71EE452-5FE7-40D2-B9E1-D5D45EDB5AB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2021886" y="2842320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23" name="Bildplatzhalter 6">
            <a:extLst>
              <a:ext uri="{FF2B5EF4-FFF2-40B4-BE49-F238E27FC236}">
                <a16:creationId xmlns:a16="http://schemas.microsoft.com/office/drawing/2014/main" id="{D276B3D8-1DDB-4E7B-9F3D-98786747614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818534" y="2827188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24" name="Bildplatzhalter 6">
            <a:extLst>
              <a:ext uri="{FF2B5EF4-FFF2-40B4-BE49-F238E27FC236}">
                <a16:creationId xmlns:a16="http://schemas.microsoft.com/office/drawing/2014/main" id="{07C48AA0-BED2-43CB-AB9B-1BA883F1149C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609555" y="2825220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DFDB2DC1-8B4F-4765-964F-31538821C2D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451725" y="1060450"/>
            <a:ext cx="1584325" cy="32067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3813125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EC3A98A1-0379-4B57-A126-017C70E1949C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>
          <a:xfrm>
            <a:off x="0" y="0"/>
            <a:ext cx="9144000" cy="5148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Vollbild durch klicken einfügen.</a:t>
            </a:r>
          </a:p>
        </p:txBody>
      </p:sp>
    </p:spTree>
    <p:extLst>
      <p:ext uri="{BB962C8B-B14F-4D97-AF65-F5344CB8AC3E}">
        <p14:creationId xmlns:p14="http://schemas.microsoft.com/office/powerpoint/2010/main" val="39111779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kl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EC3A98A1-0379-4B57-A126-017C70E1949C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2052000" y="468000"/>
            <a:ext cx="5040000" cy="336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97D7879-BA70-4DD0-99E9-74C1A1FA34B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B422CC4-3EFE-4A06-B194-FAB2C24ECED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DC3B07E-B021-4B5C-9450-33EDD58444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51999" y="3952800"/>
            <a:ext cx="5040000" cy="324000"/>
          </a:xfrm>
        </p:spPr>
        <p:txBody>
          <a:bodyPr/>
          <a:lstStyle>
            <a:lvl1pPr>
              <a:lnSpc>
                <a:spcPts val="1200"/>
              </a:lnSpc>
              <a:spcAft>
                <a:spcPts val="0"/>
              </a:spcAft>
              <a:defRPr sz="900"/>
            </a:lvl1pPr>
            <a:lvl2pPr>
              <a:lnSpc>
                <a:spcPts val="1200"/>
              </a:lnSpc>
              <a:spcAft>
                <a:spcPts val="0"/>
              </a:spcAft>
              <a:defRPr sz="900"/>
            </a:lvl2pPr>
            <a:lvl3pPr>
              <a:lnSpc>
                <a:spcPts val="1200"/>
              </a:lnSpc>
              <a:spcAft>
                <a:spcPts val="0"/>
              </a:spcAft>
              <a:defRPr sz="900"/>
            </a:lvl3pPr>
            <a:lvl4pPr>
              <a:lnSpc>
                <a:spcPts val="1200"/>
              </a:lnSpc>
              <a:spcAft>
                <a:spcPts val="0"/>
              </a:spcAft>
              <a:defRPr sz="900"/>
            </a:lvl4pPr>
            <a:lvl5pPr>
              <a:lnSpc>
                <a:spcPts val="1200"/>
              </a:lnSpc>
              <a:spcAft>
                <a:spcPts val="0"/>
              </a:spcAft>
              <a:defRPr sz="900"/>
            </a:lvl5pPr>
            <a:lvl6pPr>
              <a:lnSpc>
                <a:spcPts val="1200"/>
              </a:lnSpc>
              <a:spcAft>
                <a:spcPts val="0"/>
              </a:spcAft>
              <a:defRPr sz="900"/>
            </a:lvl6pPr>
            <a:lvl7pPr>
              <a:lnSpc>
                <a:spcPts val="1200"/>
              </a:lnSpc>
              <a:spcAft>
                <a:spcPts val="0"/>
              </a:spcAft>
              <a:defRPr sz="900"/>
            </a:lvl7pPr>
            <a:lvl8pPr>
              <a:lnSpc>
                <a:spcPts val="1200"/>
              </a:lnSpc>
              <a:spcAft>
                <a:spcPts val="0"/>
              </a:spcAft>
              <a:defRPr sz="900"/>
            </a:lvl8pPr>
            <a:lvl9pPr>
              <a:lnSpc>
                <a:spcPts val="12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de-DE"/>
              <a:t>Bildunterzeile // für weitere Ebenen (Text)  &gt;&gt; Menü &gt; Start &gt; Absatz &gt; Listenebene erhöhen </a:t>
            </a:r>
          </a:p>
          <a:p>
            <a:pPr lvl="1"/>
            <a:r>
              <a:rPr lang="de-DE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23257041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292" userDrawn="1">
          <p15:clr>
            <a:srgbClr val="FBAE40"/>
          </p15:clr>
        </p15:guide>
        <p15:guide id="2" pos="4468" userDrawn="1">
          <p15:clr>
            <a:srgbClr val="FBAE40"/>
          </p15:clr>
        </p15:guide>
        <p15:guide id="3" orient="horz" pos="291" userDrawn="1">
          <p15:clr>
            <a:srgbClr val="FBAE40"/>
          </p15:clr>
        </p15:guide>
        <p15:guide id="4" orient="horz" pos="2419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EC3A98A1-0379-4B57-A126-017C70E1949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8000" y="468000"/>
            <a:ext cx="3960000" cy="264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97D7879-BA70-4DD0-99E9-74C1A1FA34B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B422CC4-3EFE-4A06-B194-FAB2C24ECED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DC3B07E-B021-4B5C-9450-33EDD58444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000" y="3240000"/>
            <a:ext cx="3960000" cy="1044000"/>
          </a:xfrm>
        </p:spPr>
        <p:txBody>
          <a:bodyPr/>
          <a:lstStyle>
            <a:lvl1pPr>
              <a:lnSpc>
                <a:spcPts val="1200"/>
              </a:lnSpc>
              <a:spcAft>
                <a:spcPts val="0"/>
              </a:spcAft>
              <a:defRPr sz="900"/>
            </a:lvl1pPr>
            <a:lvl2pPr>
              <a:lnSpc>
                <a:spcPts val="1200"/>
              </a:lnSpc>
              <a:spcAft>
                <a:spcPts val="0"/>
              </a:spcAft>
              <a:defRPr sz="900"/>
            </a:lvl2pPr>
            <a:lvl3pPr>
              <a:lnSpc>
                <a:spcPts val="1200"/>
              </a:lnSpc>
              <a:spcAft>
                <a:spcPts val="0"/>
              </a:spcAft>
              <a:defRPr sz="900"/>
            </a:lvl3pPr>
            <a:lvl4pPr>
              <a:lnSpc>
                <a:spcPts val="1200"/>
              </a:lnSpc>
              <a:spcAft>
                <a:spcPts val="0"/>
              </a:spcAft>
              <a:defRPr sz="900"/>
            </a:lvl4pPr>
            <a:lvl5pPr>
              <a:lnSpc>
                <a:spcPts val="1200"/>
              </a:lnSpc>
              <a:spcAft>
                <a:spcPts val="0"/>
              </a:spcAft>
              <a:defRPr sz="900"/>
            </a:lvl5pPr>
            <a:lvl6pPr>
              <a:lnSpc>
                <a:spcPts val="1200"/>
              </a:lnSpc>
              <a:spcAft>
                <a:spcPts val="0"/>
              </a:spcAft>
              <a:defRPr sz="900"/>
            </a:lvl6pPr>
            <a:lvl7pPr>
              <a:lnSpc>
                <a:spcPts val="1200"/>
              </a:lnSpc>
              <a:spcAft>
                <a:spcPts val="0"/>
              </a:spcAft>
              <a:defRPr sz="900"/>
            </a:lvl7pPr>
            <a:lvl8pPr>
              <a:lnSpc>
                <a:spcPts val="1200"/>
              </a:lnSpc>
              <a:spcAft>
                <a:spcPts val="0"/>
              </a:spcAft>
              <a:defRPr sz="900"/>
            </a:lvl8pPr>
            <a:lvl9pPr>
              <a:lnSpc>
                <a:spcPts val="12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de-DE"/>
              <a:t>Bildunterzeile </a:t>
            </a:r>
            <a:r>
              <a:rPr lang="de-DE" err="1"/>
              <a:t>Bildunterzeile</a:t>
            </a:r>
            <a:r>
              <a:rPr lang="de-DE"/>
              <a:t> // für weitere Ebenen (Text)  &gt;&gt; Menü &gt; Start &gt; Absatz &gt; Listenebene erhöhen 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8" name="Bildplatzhalter 6">
            <a:extLst>
              <a:ext uri="{FF2B5EF4-FFF2-40B4-BE49-F238E27FC236}">
                <a16:creationId xmlns:a16="http://schemas.microsoft.com/office/drawing/2014/main" id="{CFABEA7C-7103-4FAC-AAB1-B8FF0684867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680000" y="468000"/>
            <a:ext cx="3960000" cy="264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9CA26BD8-E4CD-4A9F-ACC0-895F1FD2744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0000" y="3240000"/>
            <a:ext cx="3960000" cy="1044000"/>
          </a:xfrm>
        </p:spPr>
        <p:txBody>
          <a:bodyPr/>
          <a:lstStyle>
            <a:lvl1pPr>
              <a:lnSpc>
                <a:spcPts val="1200"/>
              </a:lnSpc>
              <a:spcAft>
                <a:spcPts val="0"/>
              </a:spcAft>
              <a:defRPr sz="900"/>
            </a:lvl1pPr>
            <a:lvl2pPr>
              <a:lnSpc>
                <a:spcPts val="1200"/>
              </a:lnSpc>
              <a:spcAft>
                <a:spcPts val="0"/>
              </a:spcAft>
              <a:defRPr sz="900"/>
            </a:lvl2pPr>
            <a:lvl3pPr>
              <a:lnSpc>
                <a:spcPts val="1200"/>
              </a:lnSpc>
              <a:spcAft>
                <a:spcPts val="0"/>
              </a:spcAft>
              <a:defRPr sz="900"/>
            </a:lvl3pPr>
            <a:lvl4pPr>
              <a:lnSpc>
                <a:spcPts val="1200"/>
              </a:lnSpc>
              <a:spcAft>
                <a:spcPts val="0"/>
              </a:spcAft>
              <a:defRPr sz="900"/>
            </a:lvl4pPr>
            <a:lvl5pPr>
              <a:lnSpc>
                <a:spcPts val="1200"/>
              </a:lnSpc>
              <a:spcAft>
                <a:spcPts val="0"/>
              </a:spcAft>
              <a:defRPr sz="900"/>
            </a:lvl5pPr>
            <a:lvl6pPr>
              <a:lnSpc>
                <a:spcPts val="1200"/>
              </a:lnSpc>
              <a:spcAft>
                <a:spcPts val="0"/>
              </a:spcAft>
              <a:defRPr sz="900"/>
            </a:lvl6pPr>
            <a:lvl7pPr>
              <a:lnSpc>
                <a:spcPts val="1200"/>
              </a:lnSpc>
              <a:spcAft>
                <a:spcPts val="0"/>
              </a:spcAft>
              <a:defRPr sz="900"/>
            </a:lvl7pPr>
            <a:lvl8pPr>
              <a:lnSpc>
                <a:spcPts val="1200"/>
              </a:lnSpc>
              <a:spcAft>
                <a:spcPts val="0"/>
              </a:spcAft>
              <a:defRPr sz="900"/>
            </a:lvl8pPr>
            <a:lvl9pPr>
              <a:lnSpc>
                <a:spcPts val="12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de-DE"/>
              <a:t>Bildunterzeile </a:t>
            </a:r>
            <a:r>
              <a:rPr lang="de-DE" err="1"/>
              <a:t>Bildunterzeile</a:t>
            </a:r>
            <a:r>
              <a:rPr lang="de-DE"/>
              <a:t> // für weitere Ebenen (Text)  &gt;&gt; Menü &gt; Start &gt; Absatz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6226435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45" userDrawn="1">
          <p15:clr>
            <a:srgbClr val="FBAE40"/>
          </p15:clr>
        </p15:guide>
        <p15:guide id="2" pos="5443" userDrawn="1">
          <p15:clr>
            <a:srgbClr val="FBAE40"/>
          </p15:clr>
        </p15:guide>
        <p15:guide id="3" orient="horz" pos="291">
          <p15:clr>
            <a:srgbClr val="FBAE40"/>
          </p15:clr>
        </p15:guide>
        <p15:guide id="4" orient="horz" pos="1963" userDrawn="1">
          <p15:clr>
            <a:srgbClr val="FBAE40"/>
          </p15:clr>
        </p15:guide>
        <p15:guide id="5" pos="279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3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 userDrawn="1">
            <p:ph type="title"/>
          </p:nvPr>
        </p:nvSpPr>
        <p:spPr>
          <a:xfrm>
            <a:off x="468000" y="396000"/>
            <a:ext cx="7560000" cy="46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KAPITEL | CHART-HEADLINE</a:t>
            </a:r>
          </a:p>
        </p:txBody>
      </p:sp>
      <p:sp>
        <p:nvSpPr>
          <p:cNvPr id="3" name="Textplatzhalter 2"/>
          <p:cNvSpPr>
            <a:spLocks noGrp="1"/>
          </p:cNvSpPr>
          <p:nvPr userDrawn="1">
            <p:ph type="body" idx="1"/>
          </p:nvPr>
        </p:nvSpPr>
        <p:spPr>
          <a:xfrm>
            <a:off x="468000" y="918000"/>
            <a:ext cx="7560000" cy="336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err="1"/>
              <a:t>Subline</a:t>
            </a:r>
            <a:r>
              <a:rPr lang="de-DE"/>
              <a:t> auf erster Ebene // für weitere Ebenen (Text und Aufzählungen &gt;&gt; Menü &gt; Start &gt; Absatz &gt; Listenebene erhöhen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4" name="Datumsplatzhalter 3"/>
          <p:cNvSpPr>
            <a:spLocks noGrp="1"/>
          </p:cNvSpPr>
          <p:nvPr userDrawn="1">
            <p:ph type="dt" sz="half" idx="2"/>
          </p:nvPr>
        </p:nvSpPr>
        <p:spPr>
          <a:xfrm>
            <a:off x="360000" y="5524114"/>
            <a:ext cx="4284008" cy="17998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aseline="0">
                <a:solidFill>
                  <a:schemeClr val="tx2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9pPr>
          </a:lstStyle>
          <a:p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3"/>
          </p:nvPr>
        </p:nvSpPr>
        <p:spPr>
          <a:xfrm>
            <a:off x="720000" y="4752000"/>
            <a:ext cx="6300000" cy="10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aseline="0">
                <a:solidFill>
                  <a:schemeClr val="tx2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9pPr>
          </a:lstStyle>
          <a:p>
            <a:r>
              <a:rPr lang="de-DE"/>
              <a:t>Allgemeine Masterberatung | masterberatung@sowi.rub.de                                    Fakultät für Sozialwissenschaft</a:t>
            </a: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4"/>
          </p:nvPr>
        </p:nvSpPr>
        <p:spPr>
          <a:xfrm>
            <a:off x="324000" y="4752000"/>
            <a:ext cx="252000" cy="10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aseline="0">
                <a:solidFill>
                  <a:schemeClr val="tx2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9pPr>
          </a:lstStyle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</a:p>
        </p:txBody>
      </p:sp>
      <p:grpSp>
        <p:nvGrpSpPr>
          <p:cNvPr id="31" name="Regieanweisungen"/>
          <p:cNvGrpSpPr/>
          <p:nvPr userDrawn="1"/>
        </p:nvGrpSpPr>
        <p:grpSpPr>
          <a:xfrm>
            <a:off x="-2088000" y="-468000"/>
            <a:ext cx="13284000" cy="6083999"/>
            <a:chOff x="-2088000" y="-468000"/>
            <a:chExt cx="13284000" cy="6083999"/>
          </a:xfrm>
        </p:grpSpPr>
        <p:grpSp>
          <p:nvGrpSpPr>
            <p:cNvPr id="29" name="Listenebenen"/>
            <p:cNvGrpSpPr/>
            <p:nvPr userDrawn="1"/>
          </p:nvGrpSpPr>
          <p:grpSpPr>
            <a:xfrm>
              <a:off x="-2088000" y="1368000"/>
              <a:ext cx="1980000" cy="2319874"/>
              <a:chOff x="-2088000" y="1368000"/>
              <a:chExt cx="1980000" cy="2319874"/>
            </a:xfrm>
          </p:grpSpPr>
          <p:sp>
            <p:nvSpPr>
              <p:cNvPr id="12" name="Text // Listenebene erhöhen"/>
              <p:cNvSpPr txBox="1"/>
              <p:nvPr userDrawn="1"/>
            </p:nvSpPr>
            <p:spPr>
              <a:xfrm>
                <a:off x="-2016000" y="2787874"/>
                <a:ext cx="936000" cy="396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9059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200" b="1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9059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200" b="1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13" name="Text // Listenebene verringern"/>
              <p:cNvSpPr txBox="1"/>
              <p:nvPr userDrawn="1"/>
            </p:nvSpPr>
            <p:spPr>
              <a:xfrm>
                <a:off x="-2016000" y="3291874"/>
                <a:ext cx="936000" cy="396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9059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200" b="1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9059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200" b="1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5" name="Listenebenen"/>
              <p:cNvSpPr txBox="1"/>
              <p:nvPr userDrawn="1"/>
            </p:nvSpPr>
            <p:spPr>
              <a:xfrm rot="10800000" flipH="1" flipV="1">
                <a:off x="-2088000" y="1368000"/>
                <a:ext cx="1980000" cy="8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9059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200" b="0" baseline="0">
                    <a:solidFill>
                      <a:schemeClr val="tx1"/>
                    </a:solidFill>
                    <a:latin typeface="+mn-lt"/>
                  </a:rPr>
                  <a:t>Listen erstellen</a:t>
                </a:r>
              </a:p>
              <a:p>
                <a:pPr marL="0" marR="0" lvl="0" indent="0" algn="r" defTabSz="9059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200" b="0" baseline="0">
                    <a:solidFill>
                      <a:schemeClr val="tx1"/>
                    </a:solidFill>
                    <a:latin typeface="+mn-lt"/>
                  </a:rPr>
                  <a:t>Wechseln Sie die Textebene</a:t>
                </a:r>
              </a:p>
              <a:p>
                <a:pPr marL="0" marR="0" lvl="0" indent="0" algn="r" defTabSz="9059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200" b="0" baseline="0">
                    <a:solidFill>
                      <a:schemeClr val="tx1"/>
                    </a:solidFill>
                    <a:latin typeface="+mn-lt"/>
                  </a:rPr>
                  <a:t>im Menü über: </a:t>
                </a:r>
                <a:br>
                  <a:rPr lang="de-DE" sz="1200" b="0" baseline="0">
                    <a:solidFill>
                      <a:schemeClr val="tx1"/>
                    </a:solidFill>
                    <a:latin typeface="+mn-lt"/>
                  </a:rPr>
                </a:br>
                <a:r>
                  <a:rPr lang="de-DE" sz="1200" b="1" baseline="0">
                    <a:solidFill>
                      <a:schemeClr val="tx1"/>
                    </a:solidFill>
                    <a:latin typeface="+mn-lt"/>
                  </a:rPr>
                  <a:t>Start &gt; Absatz &gt; Listenebene erhöhen/verringern</a:t>
                </a:r>
              </a:p>
            </p:txBody>
          </p:sp>
          <p:pic>
            <p:nvPicPr>
              <p:cNvPr id="27" name="Bild // Listenebene verringern"/>
              <p:cNvPicPr>
                <a:picLocks noChangeAspect="1"/>
              </p:cNvPicPr>
              <p:nvPr userDrawn="1"/>
            </p:nvPicPr>
            <p:blipFill>
              <a:blip r:embed="rId20"/>
              <a:stretch>
                <a:fillRect/>
              </a:stretch>
            </p:blipFill>
            <p:spPr>
              <a:xfrm>
                <a:off x="-963360" y="3291874"/>
                <a:ext cx="855360" cy="396000"/>
              </a:xfrm>
              <a:prstGeom prst="rect">
                <a:avLst/>
              </a:prstGeom>
            </p:spPr>
          </p:pic>
          <p:pic>
            <p:nvPicPr>
              <p:cNvPr id="28" name="Bild // Listenebene erhöhen"/>
              <p:cNvPicPr>
                <a:picLocks noChangeAspect="1"/>
              </p:cNvPicPr>
              <p:nvPr userDrawn="1"/>
            </p:nvPicPr>
            <p:blipFill>
              <a:blip r:embed="rId21"/>
              <a:stretch>
                <a:fillRect/>
              </a:stretch>
            </p:blipFill>
            <p:spPr>
              <a:xfrm>
                <a:off x="-963360" y="2787874"/>
                <a:ext cx="855360" cy="396000"/>
              </a:xfrm>
              <a:prstGeom prst="rect">
                <a:avLst/>
              </a:prstGeom>
            </p:spPr>
          </p:pic>
        </p:grpSp>
        <p:sp>
          <p:nvSpPr>
            <p:cNvPr id="14" name="Zurücksetzen"/>
            <p:cNvSpPr txBox="1"/>
            <p:nvPr userDrawn="1"/>
          </p:nvSpPr>
          <p:spPr>
            <a:xfrm rot="10800000" flipH="1" flipV="1">
              <a:off x="9252000" y="648000"/>
              <a:ext cx="1944000" cy="61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1" baseline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15" name="Hilfslinien"/>
            <p:cNvSpPr txBox="1"/>
            <p:nvPr userDrawn="1"/>
          </p:nvSpPr>
          <p:spPr>
            <a:xfrm rot="10800000" flipH="1" flipV="1">
              <a:off x="431801" y="-468000"/>
              <a:ext cx="82804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334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ü: </a:t>
              </a:r>
              <a:r>
                <a:rPr kumimoji="0" lang="de-DE" sz="12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Anzeigen &gt; Haken bei Führungslinien setzen</a:t>
              </a:r>
            </a:p>
          </p:txBody>
        </p:sp>
        <p:sp>
          <p:nvSpPr>
            <p:cNvPr id="16" name="Fußzeile"/>
            <p:cNvSpPr txBox="1"/>
            <p:nvPr userDrawn="1"/>
          </p:nvSpPr>
          <p:spPr>
            <a:xfrm rot="10800000" flipH="1" flipV="1">
              <a:off x="431800" y="5255998"/>
              <a:ext cx="8280400" cy="360001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334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0" baseline="0">
                  <a:solidFill>
                    <a:schemeClr val="tx1"/>
                  </a:solidFill>
                  <a:latin typeface="+mn-lt"/>
                </a:rPr>
                <a:t>Fußzeile anpassen: </a:t>
              </a:r>
              <a:r>
                <a:rPr lang="de-DE" sz="1200" b="1" baseline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  <p:sp>
          <p:nvSpPr>
            <p:cNvPr id="30" name="Layoutwechsel"/>
            <p:cNvSpPr txBox="1"/>
            <p:nvPr userDrawn="1"/>
          </p:nvSpPr>
          <p:spPr>
            <a:xfrm rot="10800000" flipH="1" flipV="1">
              <a:off x="9252000" y="2283786"/>
              <a:ext cx="1944000" cy="61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>
                  <a:solidFill>
                    <a:schemeClr val="tx1"/>
                  </a:solidFill>
                  <a:latin typeface="+mn-lt"/>
                </a:rPr>
                <a:t>Wechsel des Folienlayouts </a:t>
              </a:r>
              <a:br>
                <a:rPr lang="de-DE" sz="1200" b="0" baseline="0">
                  <a:solidFill>
                    <a:schemeClr val="tx1"/>
                  </a:solidFill>
                  <a:latin typeface="+mn-lt"/>
                </a:rPr>
              </a:br>
              <a:r>
                <a:rPr lang="de-DE" sz="1200" b="0" baseline="0">
                  <a:solidFill>
                    <a:schemeClr val="tx1"/>
                  </a:solidFill>
                  <a:latin typeface="+mn-lt"/>
                </a:rPr>
                <a:t>im Menü über:</a:t>
              </a:r>
            </a:p>
            <a:p>
              <a:pPr marL="0" marR="0" lvl="0" indent="0" algn="l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1" baseline="0">
                  <a:solidFill>
                    <a:schemeClr val="tx1"/>
                  </a:solidFill>
                  <a:latin typeface="+mn-lt"/>
                </a:rPr>
                <a:t>Start &gt; Folien &gt; Layout</a:t>
              </a:r>
            </a:p>
          </p:txBody>
        </p:sp>
      </p:grp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F61B1FA0-8233-4248-B899-BF9702E3E986}"/>
              </a:ext>
            </a:extLst>
          </p:cNvPr>
          <p:cNvCxnSpPr/>
          <p:nvPr userDrawn="1"/>
        </p:nvCxnSpPr>
        <p:spPr>
          <a:xfrm>
            <a:off x="0" y="4485600"/>
            <a:ext cx="91440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fik 7">
            <a:extLst>
              <a:ext uri="{FF2B5EF4-FFF2-40B4-BE49-F238E27FC236}">
                <a16:creationId xmlns:a16="http://schemas.microsoft.com/office/drawing/2014/main" id="{289C4D98-9606-4382-895C-2F9999CA3289}"/>
              </a:ext>
            </a:extLst>
          </p:cNvPr>
          <p:cNvPicPr>
            <a:picLocks noChangeAspect="1"/>
          </p:cNvPicPr>
          <p:nvPr userDrawn="1"/>
        </p:nvPicPr>
        <p:blipFill>
          <a:blip r:embed="rId22"/>
          <a:stretch>
            <a:fillRect/>
          </a:stretch>
        </p:blipFill>
        <p:spPr>
          <a:xfrm>
            <a:off x="7308000" y="4679640"/>
            <a:ext cx="1512000" cy="288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04192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7" r:id="rId3"/>
    <p:sldLayoutId id="2147483650" r:id="rId4"/>
    <p:sldLayoutId id="2147483667" r:id="rId5"/>
    <p:sldLayoutId id="2147483669" r:id="rId6"/>
    <p:sldLayoutId id="2147483658" r:id="rId7"/>
    <p:sldLayoutId id="2147483659" r:id="rId8"/>
    <p:sldLayoutId id="2147483660" r:id="rId9"/>
    <p:sldLayoutId id="2147483661" r:id="rId10"/>
    <p:sldLayoutId id="2147483663" r:id="rId11"/>
    <p:sldLayoutId id="2147483662" r:id="rId12"/>
    <p:sldLayoutId id="2147483664" r:id="rId13"/>
    <p:sldLayoutId id="2147483665" r:id="rId14"/>
    <p:sldLayoutId id="2147483666" r:id="rId15"/>
    <p:sldLayoutId id="2147483654" r:id="rId16"/>
    <p:sldLayoutId id="2147483655" r:id="rId17"/>
    <p:sldLayoutId id="2147483668" r:id="rId18"/>
  </p:sldLayoutIdLst>
  <p:hf hdr="0" dt="0"/>
  <p:txStyles>
    <p:titleStyle>
      <a:lvl1pPr marL="0" indent="0" algn="l" defTabSz="6858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2700" b="0" kern="1200" baseline="0">
          <a:solidFill>
            <a:schemeClr val="tx2"/>
          </a:solidFill>
          <a:latin typeface="+mn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ts val="1800"/>
        </a:lnSpc>
        <a:spcBef>
          <a:spcPts val="0"/>
        </a:spcBef>
        <a:spcAft>
          <a:spcPts val="1200"/>
        </a:spcAft>
        <a:buSzPct val="75000"/>
        <a:buFont typeface="Arial" panose="020B0604020202020204" pitchFamily="34" charset="0"/>
        <a:buNone/>
        <a:defRPr sz="1500" b="1" kern="1200" baseline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SzPct val="75000"/>
        <a:buFont typeface="Arial" panose="020B0604020202020204" pitchFamily="34" charset="0"/>
        <a:buNone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2pPr>
      <a:lvl3pPr marL="234000" indent="-23400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Clr>
          <a:schemeClr val="bg2"/>
        </a:buClr>
        <a:buSzPct val="100000"/>
        <a:buFont typeface="Wingdings" panose="05000000000000000000" pitchFamily="2" charset="2"/>
        <a:buChar char="§"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468000" indent="-23400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anose="05000000000000000000" pitchFamily="2" charset="2"/>
        <a:buChar char="§"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4pPr>
      <a:lvl5pPr marL="702000" indent="-23400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anose="05000000000000000000" pitchFamily="2" charset="2"/>
        <a:buChar char="§"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0" indent="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SzPct val="75000"/>
        <a:buFont typeface="Arial" panose="020B0604020202020204" pitchFamily="34" charset="0"/>
        <a:buNone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SzPct val="75000"/>
        <a:buFont typeface="Arial" panose="020B0604020202020204" pitchFamily="34" charset="0"/>
        <a:buNone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SzPct val="75000"/>
        <a:buFont typeface="Arial" panose="020B0604020202020204" pitchFamily="34" charset="0"/>
        <a:buNone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SzPct val="75000"/>
        <a:buFont typeface="Arial" panose="020B0604020202020204" pitchFamily="34" charset="0"/>
        <a:buNone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92" userDrawn="1">
          <p15:clr>
            <a:srgbClr val="5ACBF0"/>
          </p15:clr>
        </p15:guide>
        <p15:guide id="2" pos="5059" userDrawn="1">
          <p15:clr>
            <a:srgbClr val="5ACBF0"/>
          </p15:clr>
        </p15:guide>
        <p15:guide id="3" orient="horz" pos="245" userDrawn="1">
          <p15:clr>
            <a:srgbClr val="5ACBF0"/>
          </p15:clr>
        </p15:guide>
        <p15:guide id="4" orient="horz" pos="2700" userDrawn="1">
          <p15:clr>
            <a:srgbClr val="5ACBF0"/>
          </p15:clr>
        </p15:guide>
        <p15:guide id="5" pos="5443" userDrawn="1">
          <p15:clr>
            <a:srgbClr val="5ACBF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9.jpe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platzhalter 8" descr="Ein Bild, das draußen, Gebäude, Wasser, groß enthält.&#10;&#10;Automatisch generierte Beschreibung">
            <a:extLst>
              <a:ext uri="{FF2B5EF4-FFF2-40B4-BE49-F238E27FC236}">
                <a16:creationId xmlns:a16="http://schemas.microsoft.com/office/drawing/2014/main" id="{9630A345-5842-47A2-BA27-F0F55B82C24C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334" b="2361"/>
          <a:stretch/>
        </p:blipFill>
        <p:spPr>
          <a:xfrm>
            <a:off x="-4834" y="-1"/>
            <a:ext cx="9148810" cy="5143501"/>
          </a:xfrm>
          <a:noFill/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71600" y="2472629"/>
            <a:ext cx="5472509" cy="1477327"/>
          </a:xfrm>
        </p:spPr>
        <p:txBody>
          <a:bodyPr anchor="t">
            <a:normAutofit fontScale="90000"/>
          </a:bodyPr>
          <a:lstStyle/>
          <a:p>
            <a:r>
              <a:rPr lang="de-DE" sz="3300" dirty="0"/>
              <a:t>Willkommen im Tutorium zur VL. Sitzung (0) und (1) </a:t>
            </a:r>
            <a:br>
              <a:rPr lang="de-DE" sz="3300" dirty="0"/>
            </a:br>
            <a:endParaRPr lang="de-DE" sz="330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  <p:custDataLst>
              <p:tags r:id="rId2"/>
            </p:custDataLst>
          </p:nvPr>
        </p:nvSpPr>
        <p:spPr>
          <a:xfrm>
            <a:off x="1116013" y="3418563"/>
            <a:ext cx="5472112" cy="1152525"/>
          </a:xfrm>
        </p:spPr>
        <p:txBody>
          <a:bodyPr>
            <a:normAutofit/>
          </a:bodyPr>
          <a:lstStyle>
            <a:lvl1pPr marL="342900" indent="-342900" algn="l" defTabSz="914400" rtl="0" eaLnBrk="1" latinLnBrk="0" hangingPunct="1">
              <a:buClr>
                <a:schemeClr val="accent1"/>
              </a:buClr>
              <a:buFont typeface="Wingdings" panose="05000000000000000000" pitchFamily="2" charset="2"/>
              <a:buChar char="§"/>
            </a:lvl1pPr>
            <a:lvl2pPr marL="447675" indent="-285750" algn="l" defTabSz="914400" rtl="0" eaLnBrk="1" latinLnBrk="0" hangingPunct="1">
              <a:buClr>
                <a:schemeClr val="accent1"/>
              </a:buClr>
              <a:buFont typeface="Wingdings" panose="05000000000000000000" pitchFamily="2" charset="2"/>
              <a:buChar char="§"/>
            </a:lvl2pPr>
            <a:lvl3pPr marL="625475" indent="-228600" algn="l" defTabSz="914400" rtl="0" eaLnBrk="1" latinLnBrk="0" hangingPunct="1">
              <a:buClr>
                <a:schemeClr val="accent1"/>
              </a:buClr>
              <a:buFont typeface="Wingdings" panose="05000000000000000000" pitchFamily="2" charset="2"/>
              <a:buChar char="§"/>
            </a:lvl3pPr>
            <a:lvl4pPr marL="901700" indent="-228600" algn="l" defTabSz="914400" rtl="0" eaLnBrk="1" latinLnBrk="0" hangingPunct="1">
              <a:buClr>
                <a:schemeClr val="accent1"/>
              </a:buClr>
              <a:buFont typeface="Wingdings" panose="05000000000000000000" pitchFamily="2" charset="2"/>
              <a:buChar char="§"/>
            </a:lvl4pPr>
            <a:lvl5pPr marL="1165225" indent="-228600" algn="l" defTabSz="914400" rtl="0" eaLnBrk="1" latinLnBrk="0" hangingPunct="1">
              <a:buClr>
                <a:schemeClr val="accent1"/>
              </a:buClr>
              <a:buFont typeface="Wingdings" panose="05000000000000000000" pitchFamily="2" charset="2"/>
              <a:buChar char="§"/>
            </a:lvl5pPr>
            <a:lvl6pPr marL="2514600" indent="-228600" algn="l" defTabSz="914400" rtl="0" eaLnBrk="1" latinLnBrk="0" hangingPunct="1">
              <a:buFont typeface="Arial" panose="020B0604020202020204" pitchFamily="34" charset="0"/>
              <a:buChar char="•"/>
            </a:lvl6pPr>
            <a:lvl7pPr marL="2971800" indent="-228600" algn="l" defTabSz="914400" rtl="0" eaLnBrk="1" latinLnBrk="0" hangingPunct="1">
              <a:buFont typeface="Arial" panose="020B0604020202020204" pitchFamily="34" charset="0"/>
              <a:buChar char="•"/>
            </a:lvl7pPr>
            <a:lvl8pPr marL="3429000" indent="-228600" algn="l" defTabSz="914400" rtl="0" eaLnBrk="1" latinLnBrk="0" hangingPunct="1">
              <a:buFont typeface="Arial" panose="020B0604020202020204" pitchFamily="34" charset="0"/>
              <a:buChar char="•"/>
            </a:lvl8pPr>
            <a:lvl9pPr marL="3886200" indent="-228600" algn="l" defTabSz="914400" rtl="0" eaLnBrk="1" latinLnBrk="0" hangingPunct="1">
              <a:buFont typeface="Arial" panose="020B0604020202020204" pitchFamily="34" charset="0"/>
              <a:buChar char="•"/>
            </a:lvl9pPr>
          </a:lstStyle>
          <a:p>
            <a:pPr marL="0" indent="0">
              <a:lnSpc>
                <a:spcPct val="90000"/>
              </a:lnSpc>
              <a:buNone/>
            </a:pPr>
            <a:endParaRPr lang="de-DE" sz="1200" dirty="0"/>
          </a:p>
          <a:p>
            <a:pPr marL="0" indent="0">
              <a:lnSpc>
                <a:spcPct val="90000"/>
              </a:lnSpc>
              <a:buNone/>
            </a:pPr>
            <a:endParaRPr lang="de-DE" sz="1200" dirty="0"/>
          </a:p>
          <a:p>
            <a:pPr marL="0" indent="0">
              <a:lnSpc>
                <a:spcPct val="90000"/>
              </a:lnSpc>
              <a:buNone/>
            </a:pPr>
            <a:r>
              <a:rPr lang="de-DE" sz="2000" dirty="0"/>
              <a:t>Sozialstruktur und sozialer Wandel</a:t>
            </a:r>
            <a:endParaRPr lang="de-DE" sz="1200" dirty="0"/>
          </a:p>
          <a:p>
            <a:pPr marL="0" indent="0">
              <a:lnSpc>
                <a:spcPct val="90000"/>
              </a:lnSpc>
              <a:buNone/>
            </a:pPr>
            <a:endParaRPr lang="de-DE" sz="1200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8809833B-99C6-4DE4-8502-C3CF07774921}"/>
              </a:ext>
            </a:extLst>
          </p:cNvPr>
          <p:cNvSpPr/>
          <p:nvPr/>
        </p:nvSpPr>
        <p:spPr>
          <a:xfrm>
            <a:off x="110846" y="169835"/>
            <a:ext cx="374102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b="1">
                <a:solidFill>
                  <a:schemeClr val="tx2"/>
                </a:solidFill>
                <a:latin typeface="Calibri-Bold"/>
              </a:rPr>
              <a:t>FAKULTÄT FÜR SOZIALWISSENSCHAFT</a:t>
            </a:r>
            <a:endParaRPr lang="de-DE">
              <a:solidFill>
                <a:schemeClr val="tx2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517312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13B203F9-1E27-4E57-902E-B40C20ADA7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396000"/>
            <a:ext cx="7560000" cy="468000"/>
          </a:xfrm>
        </p:spPr>
        <p:txBody>
          <a:bodyPr anchor="t">
            <a:normAutofit/>
          </a:bodyPr>
          <a:lstStyle/>
          <a:p>
            <a:pPr>
              <a:lnSpc>
                <a:spcPct val="90000"/>
              </a:lnSpc>
            </a:pPr>
            <a:r>
              <a:rPr lang="de-DE"/>
              <a:t>Sozialstruktur?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6F69610-9E3A-4D99-BF17-16DDE17C18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4000" y="4752000"/>
            <a:ext cx="252000" cy="108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6C8FC03C-C266-4645-ABC5-645062898383}" type="slidenum">
              <a:rPr lang="de-DE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10</a:t>
            </a:fld>
            <a:r>
              <a:rPr lang="de-DE" sz="700"/>
              <a:t> 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70F7C74-9112-406B-A0CC-08F6DDA1D2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6000" y="1088056"/>
            <a:ext cx="8208456" cy="3472706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de-DE" sz="1800" b="0" dirty="0"/>
              <a:t>= Untersuchung des </a:t>
            </a:r>
            <a:r>
              <a:rPr lang="de-DE" sz="1800" dirty="0"/>
              <a:t>Miteinanders</a:t>
            </a:r>
          </a:p>
          <a:p>
            <a:pPr>
              <a:lnSpc>
                <a:spcPct val="150000"/>
              </a:lnSpc>
            </a:pPr>
            <a:r>
              <a:rPr lang="de-DE" sz="1800" b="0" dirty="0"/>
              <a:t>Schäfer (2003) </a:t>
            </a:r>
            <a:r>
              <a:rPr lang="de-DE" sz="1800" b="0" i="1" dirty="0">
                <a:highlight>
                  <a:srgbClr val="FFFF00"/>
                </a:highlight>
              </a:rPr>
              <a:t>DEF</a:t>
            </a:r>
            <a:r>
              <a:rPr lang="de-DE" sz="1800" b="0" i="1" dirty="0"/>
              <a:t> =</a:t>
            </a:r>
          </a:p>
          <a:p>
            <a:pPr>
              <a:lnSpc>
                <a:spcPct val="150000"/>
              </a:lnSpc>
            </a:pPr>
            <a:r>
              <a:rPr lang="de-DE" sz="1800" b="0" dirty="0"/>
              <a:t> „die Gesamtheit der </a:t>
            </a:r>
            <a:r>
              <a:rPr lang="de-DE" sz="1800" dirty="0"/>
              <a:t>relativ dauerhaften </a:t>
            </a:r>
            <a:r>
              <a:rPr lang="de-DE" sz="1800" b="0" dirty="0"/>
              <a:t>Grundlagen und </a:t>
            </a:r>
            <a:r>
              <a:rPr lang="de-DE" sz="1800" dirty="0"/>
              <a:t>Wirkungszusammenhänge</a:t>
            </a:r>
            <a:r>
              <a:rPr lang="de-DE" sz="1800" b="0" dirty="0"/>
              <a:t> </a:t>
            </a:r>
            <a:r>
              <a:rPr lang="de-DE" sz="1800" dirty="0"/>
              <a:t>sozialer Beziehungen und</a:t>
            </a:r>
            <a:r>
              <a:rPr lang="de-DE" sz="1800" b="0" dirty="0"/>
              <a:t> der </a:t>
            </a:r>
            <a:r>
              <a:rPr lang="de-DE" sz="1800" dirty="0"/>
              <a:t>sozialen Gebilde </a:t>
            </a:r>
            <a:r>
              <a:rPr lang="de-DE" sz="1800" b="0" dirty="0"/>
              <a:t>wie Gruppen, Institutionen und Organisationen </a:t>
            </a:r>
            <a:r>
              <a:rPr lang="de-DE" sz="1800" dirty="0"/>
              <a:t>in </a:t>
            </a:r>
            <a:r>
              <a:rPr lang="de-DE" sz="1800" b="0" dirty="0"/>
              <a:t>einer</a:t>
            </a:r>
            <a:r>
              <a:rPr lang="de-DE" sz="1800" dirty="0"/>
              <a:t> Gesellschaft</a:t>
            </a:r>
            <a:r>
              <a:rPr lang="de-DE" sz="1800" b="0" dirty="0"/>
              <a:t>“</a:t>
            </a:r>
          </a:p>
          <a:p>
            <a:pPr eaLnBrk="1" hangingPunct="1">
              <a:lnSpc>
                <a:spcPts val="2000"/>
              </a:lnSpc>
              <a:spcBef>
                <a:spcPct val="0"/>
              </a:spcBef>
              <a:spcAft>
                <a:spcPts val="600"/>
              </a:spcAft>
              <a:buSzPct val="130000"/>
            </a:pPr>
            <a:endParaRPr lang="de-DE" altLang="de-DE" sz="1600" dirty="0">
              <a:solidFill>
                <a:srgbClr val="92D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algn="ctr" eaLnBrk="1" hangingPunct="1">
              <a:lnSpc>
                <a:spcPts val="2000"/>
              </a:lnSpc>
              <a:spcBef>
                <a:spcPct val="0"/>
              </a:spcBef>
              <a:spcAft>
                <a:spcPts val="600"/>
              </a:spcAft>
              <a:buSzPct val="130000"/>
              <a:buFont typeface="Wingdings" pitchFamily="2" charset="2"/>
              <a:buChar char="§"/>
            </a:pPr>
            <a:r>
              <a:rPr lang="de-DE" altLang="de-DE" sz="16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as haben Sozialstruktur und Gesellschaft miteinander zu tun?</a:t>
            </a:r>
          </a:p>
          <a:p>
            <a:pPr>
              <a:lnSpc>
                <a:spcPct val="150000"/>
              </a:lnSpc>
            </a:pPr>
            <a:endParaRPr lang="de-DE" sz="1800" b="0" dirty="0"/>
          </a:p>
          <a:p>
            <a:pPr>
              <a:lnSpc>
                <a:spcPct val="150000"/>
              </a:lnSpc>
            </a:pPr>
            <a:endParaRPr lang="de-DE" sz="1800" b="0" dirty="0"/>
          </a:p>
        </p:txBody>
      </p:sp>
      <p:sp>
        <p:nvSpPr>
          <p:cNvPr id="9" name="Sprechblase: rechteckig mit abgerundeten Ecken 8">
            <a:extLst>
              <a:ext uri="{FF2B5EF4-FFF2-40B4-BE49-F238E27FC236}">
                <a16:creationId xmlns:a16="http://schemas.microsoft.com/office/drawing/2014/main" id="{620D96FE-D0E5-472A-B996-CC8E53B383F3}"/>
              </a:ext>
            </a:extLst>
          </p:cNvPr>
          <p:cNvSpPr/>
          <p:nvPr/>
        </p:nvSpPr>
        <p:spPr>
          <a:xfrm>
            <a:off x="6156176" y="1725630"/>
            <a:ext cx="1050729" cy="468001"/>
          </a:xfrm>
          <a:prstGeom prst="wedgeRoundRectCallout">
            <a:avLst>
              <a:gd name="adj1" fmla="val -20833"/>
              <a:gd name="adj2" fmla="val 62500"/>
              <a:gd name="adj3" fmla="val 16667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>
                <a:solidFill>
                  <a:schemeClr val="tx1"/>
                </a:solidFill>
                <a:highlight>
                  <a:srgbClr val="FFFF00"/>
                </a:highlight>
              </a:rPr>
              <a:t>Definition</a:t>
            </a:r>
          </a:p>
        </p:txBody>
      </p:sp>
      <p:sp>
        <p:nvSpPr>
          <p:cNvPr id="13" name="Fußzeilenplatzhalter 3">
            <a:extLst>
              <a:ext uri="{FF2B5EF4-FFF2-40B4-BE49-F238E27FC236}">
                <a16:creationId xmlns:a16="http://schemas.microsoft.com/office/drawing/2014/main" id="{D9F45625-7754-4CE7-B147-A8EA00188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0000" y="4752000"/>
            <a:ext cx="6300000" cy="108000"/>
          </a:xfrm>
        </p:spPr>
        <p:txBody>
          <a:bodyPr/>
          <a:lstStyle/>
          <a:p>
            <a:r>
              <a:rPr lang="de-DE"/>
              <a:t>Tutorien Sozialstruktur und sozialer Wandel | stina.</a:t>
            </a:r>
            <a:r>
              <a:rPr lang="de-DE" err="1"/>
              <a:t>runtemund</a:t>
            </a:r>
            <a:r>
              <a:rPr lang="de-DE"/>
              <a:t>@.rub.de                                  Fakultät für Sozialwissenschaft</a:t>
            </a:r>
          </a:p>
        </p:txBody>
      </p:sp>
      <p:sp>
        <p:nvSpPr>
          <p:cNvPr id="2" name="Sprechblase: rechteckig mit abgerundeten Ecken 1">
            <a:extLst>
              <a:ext uri="{FF2B5EF4-FFF2-40B4-BE49-F238E27FC236}">
                <a16:creationId xmlns:a16="http://schemas.microsoft.com/office/drawing/2014/main" id="{509DAE89-EA0E-3497-B915-8156CF899FCC}"/>
              </a:ext>
            </a:extLst>
          </p:cNvPr>
          <p:cNvSpPr/>
          <p:nvPr/>
        </p:nvSpPr>
        <p:spPr>
          <a:xfrm>
            <a:off x="7259652" y="3579863"/>
            <a:ext cx="1281821" cy="288032"/>
          </a:xfrm>
          <a:prstGeom prst="wedgeRoundRectCallout">
            <a:avLst>
              <a:gd name="adj1" fmla="val -20833"/>
              <a:gd name="adj2" fmla="val 62500"/>
              <a:gd name="adj3" fmla="val 16667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/>
              <a:t>Übungsfrage</a:t>
            </a:r>
          </a:p>
        </p:txBody>
      </p:sp>
    </p:spTree>
    <p:extLst>
      <p:ext uri="{BB962C8B-B14F-4D97-AF65-F5344CB8AC3E}">
        <p14:creationId xmlns:p14="http://schemas.microsoft.com/office/powerpoint/2010/main" val="11913247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uiExpand="1" build="p"/>
      <p:bldP spid="2" grpId="0" animBg="1"/>
    </p:bldLst>
  </p:timing>
  <p:extLst>
    <p:ext uri="{3A86A75C-4F4B-4683-9AE1-C65F6400EC91}">
      <p14:laserTraceLst xmlns:p14="http://schemas.microsoft.com/office/powerpoint/2010/main">
        <p14:tracePtLst>
          <p14:tracePt t="993" x="9050338" y="2784475"/>
          <p14:tracePt t="1000" x="8934450" y="2811463"/>
          <p14:tracePt t="1008" x="8826500" y="2836863"/>
          <p14:tracePt t="1015" x="8755063" y="2863850"/>
          <p14:tracePt t="1024" x="8737600" y="2873375"/>
          <p14:tracePt t="1030" x="8616950" y="2949575"/>
          <p14:tracePt t="1038" x="8509000" y="3011488"/>
          <p14:tracePt t="1046" x="8432800" y="3065463"/>
          <p14:tracePt t="1052" x="8375650" y="3114675"/>
          <p14:tracePt t="1060" x="8316913" y="3168650"/>
          <p14:tracePt t="1067" x="8277225" y="3208338"/>
          <p14:tracePt t="1076" x="8223250" y="3267075"/>
          <p14:tracePt t="1082" x="8183563" y="3316288"/>
          <p14:tracePt t="1092" x="8147050" y="3355975"/>
          <p14:tracePt t="1097" x="8120063" y="3395663"/>
          <p14:tracePt t="1105" x="8107363" y="3417888"/>
          <p14:tracePt t="1113" x="8097838" y="3436938"/>
          <p14:tracePt t="1120" x="8089900" y="3449638"/>
          <p14:tracePt t="1128" x="8089900" y="3459163"/>
          <p14:tracePt t="1134" x="8085138" y="3471863"/>
          <p14:tracePt t="1141" x="8085138" y="3476625"/>
          <p14:tracePt t="1149" x="8085138" y="3486150"/>
          <p14:tracePt t="1164" x="8085138" y="3489325"/>
          <p14:tracePt t="1172" x="8085138" y="3494088"/>
          <p14:tracePt t="1187" x="8085138" y="3498850"/>
          <p14:tracePt t="35128" x="8043863" y="3417888"/>
          <p14:tracePt t="35135" x="8018463" y="3373438"/>
          <p14:tracePt t="35143" x="7999413" y="3346450"/>
          <p14:tracePt t="35151" x="7991475" y="3333750"/>
          <p14:tracePt t="35160" x="7981950" y="3324225"/>
          <p14:tracePt t="35165" x="7977188" y="3321050"/>
          <p14:tracePt t="35173" x="7969250" y="3311525"/>
          <p14:tracePt t="35180" x="7959725" y="3297238"/>
          <p14:tracePt t="35188" x="7920038" y="3222625"/>
          <p14:tracePt t="35196" x="7851775" y="3038475"/>
          <p14:tracePt t="35203" x="7821613" y="2940050"/>
          <p14:tracePt t="35210" x="7799388" y="2851150"/>
          <p14:tracePt t="35218" x="7762875" y="2708275"/>
          <p14:tracePt t="35225" x="7731125" y="2516188"/>
          <p14:tracePt t="35232" x="7700963" y="2336800"/>
          <p14:tracePt t="35241" x="7678738" y="2132013"/>
          <p14:tracePt t="35247" x="7642225" y="1935163"/>
          <p14:tracePt t="35255" x="7629525" y="1831975"/>
          <p14:tracePt t="35262" x="7610475" y="1716088"/>
          <p14:tracePt t="35270" x="7593013" y="1595438"/>
          <p14:tracePt t="35277" x="7580313" y="1506538"/>
          <p14:tracePt t="35285" x="7561263" y="1403350"/>
          <p14:tracePt t="35292" x="7548563" y="1300163"/>
          <p14:tracePt t="35299" x="7521575" y="1174750"/>
          <p14:tracePt t="35309" x="7508875" y="1085850"/>
          <p14:tracePt t="35315" x="7486650" y="1004888"/>
          <p14:tracePt t="35322" x="7459663" y="903288"/>
          <p14:tracePt t="35329" x="7440613" y="782638"/>
          <p14:tracePt t="35337" x="7427913" y="692150"/>
          <p14:tracePt t="35344" x="7427913" y="620713"/>
          <p14:tracePt t="35352" x="7427913" y="531813"/>
          <p14:tracePt t="35359" x="7432675" y="442913"/>
          <p14:tracePt t="35367" x="7445375" y="352425"/>
          <p14:tracePt t="35375" x="7467600" y="280988"/>
          <p14:tracePt t="35381" x="7499350" y="196850"/>
          <p14:tracePt t="35389" x="7499350" y="182563"/>
          <p14:tracePt t="35398" x="7504113" y="179388"/>
          <p14:tracePt t="35404" x="7504113" y="174625"/>
          <p14:tracePt t="35418" x="7504113" y="169863"/>
          <p14:tracePt t="36059" x="7624763" y="393700"/>
          <p14:tracePt t="36066" x="7624763" y="401638"/>
          <p14:tracePt t="36076" x="7785100" y="692150"/>
          <p14:tracePt t="36081" x="7834313" y="795338"/>
          <p14:tracePt t="36088" x="7920038" y="952500"/>
          <p14:tracePt t="36096" x="7991475" y="1108075"/>
          <p14:tracePt t="36103" x="8048625" y="1243013"/>
          <p14:tracePt t="36111" x="8097838" y="1376363"/>
          <p14:tracePt t="36118" x="8124825" y="1447800"/>
          <p14:tracePt t="36126" x="8164513" y="1524000"/>
          <p14:tracePt t="36133" x="8191500" y="1600200"/>
          <p14:tracePt t="36142" x="8213725" y="1654175"/>
          <p14:tracePt t="36148" x="8237538" y="1711325"/>
          <p14:tracePt t="36156" x="8262938" y="1751013"/>
          <p14:tracePt t="36163" x="8277225" y="1797050"/>
          <p14:tracePt t="36171" x="8294688" y="1836738"/>
          <p14:tracePt t="36178" x="8316913" y="1876425"/>
          <p14:tracePt t="36186" x="8331200" y="1917700"/>
          <p14:tracePt t="36192" x="8348663" y="1957388"/>
          <p14:tracePt t="36200" x="8361363" y="1992313"/>
          <p14:tracePt t="36210" x="8366125" y="2006600"/>
          <p14:tracePt t="36215" x="8380413" y="2041525"/>
          <p14:tracePt t="36223" x="8388350" y="2073275"/>
          <p14:tracePt t="36230" x="8393113" y="2087563"/>
          <p14:tracePt t="36237" x="8397875" y="2095500"/>
          <p14:tracePt t="36246" x="8397875" y="2105025"/>
          <p14:tracePt t="36252" x="8397875" y="2109788"/>
          <p14:tracePt t="36261" x="8397875" y="2112963"/>
          <p14:tracePt t="36276" x="8397875" y="2117725"/>
          <p14:tracePt t="36282" x="8397875" y="2122488"/>
          <p14:tracePt t="36297" x="8397875" y="2127250"/>
          <p14:tracePt t="36305" x="8397875" y="2132013"/>
          <p14:tracePt t="36327" x="8402638" y="2132013"/>
          <p14:tracePt t="36334" x="8405813" y="2132013"/>
          <p14:tracePt t="36342" x="8415338" y="2136775"/>
          <p14:tracePt t="36348" x="8424863" y="2136775"/>
          <p14:tracePt t="36357" x="8432800" y="2136775"/>
          <p14:tracePt t="36364" x="8442325" y="2139950"/>
          <p14:tracePt t="36371" x="8451850" y="2139950"/>
          <p14:tracePt t="36379" x="8459788" y="2139950"/>
          <p14:tracePt t="36387" x="8469313" y="2139950"/>
          <p14:tracePt t="36394" x="8482013" y="2139950"/>
          <p14:tracePt t="36401" x="8496300" y="2139950"/>
          <p14:tracePt t="36410" x="8518525" y="2139950"/>
          <p14:tracePt t="36416" x="8550275" y="2139950"/>
          <p14:tracePt t="36426" x="8594725" y="2149475"/>
          <p14:tracePt t="36431" x="8643938" y="2154238"/>
          <p14:tracePt t="36439" x="8678863" y="2162175"/>
          <p14:tracePt t="36446" x="8720138" y="2176463"/>
          <p14:tracePt t="36454" x="8755063" y="2185988"/>
          <p14:tracePt t="36461" x="8794750" y="2198688"/>
          <p14:tracePt t="36469" x="8826500" y="2225675"/>
          <p14:tracePt t="36476" x="8843963" y="2243138"/>
          <p14:tracePt t="36483" x="8870950" y="2274888"/>
          <p14:tracePt t="36493" x="8893175" y="2297113"/>
          <p14:tracePt t="36498" x="8902700" y="2319338"/>
          <p14:tracePt t="36506" x="8920163" y="2336800"/>
          <p14:tracePt t="36513" x="8924925" y="2346325"/>
          <p14:tracePt t="36521" x="8934450" y="2354263"/>
          <p14:tracePt t="36530" x="8937625" y="2359025"/>
          <p14:tracePt t="36535" x="8942388" y="2368550"/>
          <p14:tracePt t="36550" x="8947150" y="2368550"/>
          <p14:tracePt t="36559" x="8951913" y="2378075"/>
          <p14:tracePt t="36573" x="8956675" y="2386013"/>
          <p14:tracePt t="36580" x="8961438" y="2386013"/>
          <p14:tracePt t="36588" x="8964613" y="2395538"/>
          <p14:tracePt t="36595" x="8978900" y="2400300"/>
          <p14:tracePt t="36603" x="8991600" y="2413000"/>
          <p14:tracePt t="36610" x="9005888" y="2422525"/>
          <p14:tracePt t="36618" x="9023350" y="2430463"/>
          <p14:tracePt t="36627" x="9036050" y="2439988"/>
          <p14:tracePt t="36632" x="9059863" y="2452688"/>
          <p14:tracePt t="36640" x="9082088" y="2471738"/>
          <p14:tracePt t="36647" x="9121775" y="2479675"/>
        </p14:tracePtLst>
      </p14:laserTraceLst>
    </p:ext>
  </p:extLs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13B203F9-1E27-4E57-902E-B40C20ADA7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396000"/>
            <a:ext cx="7560000" cy="468000"/>
          </a:xfrm>
        </p:spPr>
        <p:txBody>
          <a:bodyPr anchor="t">
            <a:normAutofit/>
          </a:bodyPr>
          <a:lstStyle/>
          <a:p>
            <a:pPr>
              <a:lnSpc>
                <a:spcPct val="90000"/>
              </a:lnSpc>
            </a:pPr>
            <a:r>
              <a:rPr lang="de-DE"/>
              <a:t>Merkmale Sozialstruktur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6F69610-9E3A-4D99-BF17-16DDE17C18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4000" y="4752000"/>
            <a:ext cx="252000" cy="108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6C8FC03C-C266-4645-ABC5-645062898383}" type="slidenum">
              <a:rPr lang="de-DE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11</a:t>
            </a:fld>
            <a:r>
              <a:rPr lang="de-DE" sz="700"/>
              <a:t> 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70F7C74-9112-406B-A0CC-08F6DDA1D2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000" y="875384"/>
            <a:ext cx="8352472" cy="3888000"/>
          </a:xfrm>
        </p:spPr>
        <p:txBody>
          <a:bodyPr/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750" b="0" i="1" dirty="0"/>
              <a:t>„</a:t>
            </a:r>
            <a:r>
              <a:rPr lang="de-DE" sz="1750" b="0" dirty="0"/>
              <a:t>Gesellschaft &amp; Sozialstruktur stark </a:t>
            </a:r>
            <a:r>
              <a:rPr lang="de-DE" sz="1750" b="0"/>
              <a:t>miteinander verknüpft</a:t>
            </a:r>
            <a:r>
              <a:rPr lang="de-DE" sz="1750" b="0" i="1"/>
              <a:t>“</a:t>
            </a:r>
            <a:endParaRPr lang="de-DE" sz="1750" b="0" i="1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750" dirty="0"/>
              <a:t>Zergliederung</a:t>
            </a:r>
            <a:r>
              <a:rPr lang="de-DE" sz="1750" b="0" dirty="0"/>
              <a:t> der </a:t>
            </a:r>
            <a:r>
              <a:rPr lang="de-DE" sz="1750" dirty="0"/>
              <a:t>Gesellschaft in Teilbereiche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750" b="0" dirty="0"/>
              <a:t>Untersucht 1) Gliederungen, 2) Wechselwirkungen und 3) Beziehungen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750" b="0" dirty="0"/>
              <a:t>Beispiele: </a:t>
            </a:r>
            <a:r>
              <a:rPr lang="de-DE" sz="1750" b="0" i="1" dirty="0"/>
              <a:t>Gruppenbildungen, Wertstrukturen oder institutionelle Ordnungen </a:t>
            </a:r>
          </a:p>
          <a:p>
            <a:pPr>
              <a:lnSpc>
                <a:spcPct val="100000"/>
              </a:lnSpc>
            </a:pPr>
            <a:r>
              <a:rPr lang="de-DE" sz="1750" b="0" i="1" dirty="0"/>
              <a:t>                        z.B. Studenten       z.B. Fleiß               z.B. Schulsystem</a:t>
            </a:r>
          </a:p>
          <a:p>
            <a:pPr>
              <a:lnSpc>
                <a:spcPct val="100000"/>
              </a:lnSpc>
            </a:pPr>
            <a:r>
              <a:rPr lang="de-DE" sz="1750" b="0" dirty="0"/>
              <a:t>Wie entsteht „Sozialstruktur“?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750" b="0" dirty="0"/>
              <a:t>Von Menschen gemacht </a:t>
            </a:r>
            <a:r>
              <a:rPr lang="de-DE" sz="1750" b="0" strike="sngStrike" dirty="0"/>
              <a:t>(Naturgesetze oder Göttlich)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750" b="0" dirty="0"/>
              <a:t>Sind Ausdruck sozialer Regeln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750" b="0" dirty="0"/>
              <a:t>Keine allumfassende Gültigkeit </a:t>
            </a:r>
            <a:r>
              <a:rPr lang="de-DE" sz="1750" b="0" dirty="0">
                <a:sym typeface="Wingdings" panose="05000000000000000000" pitchFamily="2" charset="2"/>
              </a:rPr>
              <a:t> wandelbar </a:t>
            </a:r>
            <a:endParaRPr lang="de-DE" sz="1750" b="0" dirty="0"/>
          </a:p>
        </p:txBody>
      </p:sp>
      <p:sp>
        <p:nvSpPr>
          <p:cNvPr id="8" name="Fußzeilenplatzhalter 3">
            <a:extLst>
              <a:ext uri="{FF2B5EF4-FFF2-40B4-BE49-F238E27FC236}">
                <a16:creationId xmlns:a16="http://schemas.microsoft.com/office/drawing/2014/main" id="{B172A814-F7FB-40ED-A5DC-843D83D807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0000" y="4752000"/>
            <a:ext cx="6300000" cy="108000"/>
          </a:xfrm>
        </p:spPr>
        <p:txBody>
          <a:bodyPr/>
          <a:lstStyle/>
          <a:p>
            <a:r>
              <a:rPr lang="de-DE"/>
              <a:t>Tutorien Sozialstruktur und sozialer Wandel | stina.</a:t>
            </a:r>
            <a:r>
              <a:rPr lang="de-DE" err="1"/>
              <a:t>runtemund</a:t>
            </a:r>
            <a:r>
              <a:rPr lang="de-DE"/>
              <a:t>@.rub.de                                  Fakultät für Sozialwissenschaft</a:t>
            </a:r>
          </a:p>
        </p:txBody>
      </p:sp>
    </p:spTree>
    <p:extLst>
      <p:ext uri="{BB962C8B-B14F-4D97-AF65-F5344CB8AC3E}">
        <p14:creationId xmlns:p14="http://schemas.microsoft.com/office/powerpoint/2010/main" val="1877381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>
    <p:ext uri="{3A86A75C-4F4B-4683-9AE1-C65F6400EC91}">
      <p14:laserTraceLst xmlns:p14="http://schemas.microsoft.com/office/powerpoint/2010/main">
        <p14:tracePtLst>
          <p14:tracePt t="993" x="9050338" y="2784475"/>
          <p14:tracePt t="1000" x="8934450" y="2811463"/>
          <p14:tracePt t="1008" x="8826500" y="2836863"/>
          <p14:tracePt t="1015" x="8755063" y="2863850"/>
          <p14:tracePt t="1024" x="8737600" y="2873375"/>
          <p14:tracePt t="1030" x="8616950" y="2949575"/>
          <p14:tracePt t="1038" x="8509000" y="3011488"/>
          <p14:tracePt t="1046" x="8432800" y="3065463"/>
          <p14:tracePt t="1052" x="8375650" y="3114675"/>
          <p14:tracePt t="1060" x="8316913" y="3168650"/>
          <p14:tracePt t="1067" x="8277225" y="3208338"/>
          <p14:tracePt t="1076" x="8223250" y="3267075"/>
          <p14:tracePt t="1082" x="8183563" y="3316288"/>
          <p14:tracePt t="1092" x="8147050" y="3355975"/>
          <p14:tracePt t="1097" x="8120063" y="3395663"/>
          <p14:tracePt t="1105" x="8107363" y="3417888"/>
          <p14:tracePt t="1113" x="8097838" y="3436938"/>
          <p14:tracePt t="1120" x="8089900" y="3449638"/>
          <p14:tracePt t="1128" x="8089900" y="3459163"/>
          <p14:tracePt t="1134" x="8085138" y="3471863"/>
          <p14:tracePt t="1141" x="8085138" y="3476625"/>
          <p14:tracePt t="1149" x="8085138" y="3486150"/>
          <p14:tracePt t="1164" x="8085138" y="3489325"/>
          <p14:tracePt t="1172" x="8085138" y="3494088"/>
          <p14:tracePt t="1187" x="8085138" y="3498850"/>
          <p14:tracePt t="35128" x="8043863" y="3417888"/>
          <p14:tracePt t="35135" x="8018463" y="3373438"/>
          <p14:tracePt t="35143" x="7999413" y="3346450"/>
          <p14:tracePt t="35151" x="7991475" y="3333750"/>
          <p14:tracePt t="35160" x="7981950" y="3324225"/>
          <p14:tracePt t="35165" x="7977188" y="3321050"/>
          <p14:tracePt t="35173" x="7969250" y="3311525"/>
          <p14:tracePt t="35180" x="7959725" y="3297238"/>
          <p14:tracePt t="35188" x="7920038" y="3222625"/>
          <p14:tracePt t="35196" x="7851775" y="3038475"/>
          <p14:tracePt t="35203" x="7821613" y="2940050"/>
          <p14:tracePt t="35210" x="7799388" y="2851150"/>
          <p14:tracePt t="35218" x="7762875" y="2708275"/>
          <p14:tracePt t="35225" x="7731125" y="2516188"/>
          <p14:tracePt t="35232" x="7700963" y="2336800"/>
          <p14:tracePt t="35241" x="7678738" y="2132013"/>
          <p14:tracePt t="35247" x="7642225" y="1935163"/>
          <p14:tracePt t="35255" x="7629525" y="1831975"/>
          <p14:tracePt t="35262" x="7610475" y="1716088"/>
          <p14:tracePt t="35270" x="7593013" y="1595438"/>
          <p14:tracePt t="35277" x="7580313" y="1506538"/>
          <p14:tracePt t="35285" x="7561263" y="1403350"/>
          <p14:tracePt t="35292" x="7548563" y="1300163"/>
          <p14:tracePt t="35299" x="7521575" y="1174750"/>
          <p14:tracePt t="35309" x="7508875" y="1085850"/>
          <p14:tracePt t="35315" x="7486650" y="1004888"/>
          <p14:tracePt t="35322" x="7459663" y="903288"/>
          <p14:tracePt t="35329" x="7440613" y="782638"/>
          <p14:tracePt t="35337" x="7427913" y="692150"/>
          <p14:tracePt t="35344" x="7427913" y="620713"/>
          <p14:tracePt t="35352" x="7427913" y="531813"/>
          <p14:tracePt t="35359" x="7432675" y="442913"/>
          <p14:tracePt t="35367" x="7445375" y="352425"/>
          <p14:tracePt t="35375" x="7467600" y="280988"/>
          <p14:tracePt t="35381" x="7499350" y="196850"/>
          <p14:tracePt t="35389" x="7499350" y="182563"/>
          <p14:tracePt t="35398" x="7504113" y="179388"/>
          <p14:tracePt t="35404" x="7504113" y="174625"/>
          <p14:tracePt t="35418" x="7504113" y="169863"/>
          <p14:tracePt t="36059" x="7624763" y="393700"/>
          <p14:tracePt t="36066" x="7624763" y="401638"/>
          <p14:tracePt t="36076" x="7785100" y="692150"/>
          <p14:tracePt t="36081" x="7834313" y="795338"/>
          <p14:tracePt t="36088" x="7920038" y="952500"/>
          <p14:tracePt t="36096" x="7991475" y="1108075"/>
          <p14:tracePt t="36103" x="8048625" y="1243013"/>
          <p14:tracePt t="36111" x="8097838" y="1376363"/>
          <p14:tracePt t="36118" x="8124825" y="1447800"/>
          <p14:tracePt t="36126" x="8164513" y="1524000"/>
          <p14:tracePt t="36133" x="8191500" y="1600200"/>
          <p14:tracePt t="36142" x="8213725" y="1654175"/>
          <p14:tracePt t="36148" x="8237538" y="1711325"/>
          <p14:tracePt t="36156" x="8262938" y="1751013"/>
          <p14:tracePt t="36163" x="8277225" y="1797050"/>
          <p14:tracePt t="36171" x="8294688" y="1836738"/>
          <p14:tracePt t="36178" x="8316913" y="1876425"/>
          <p14:tracePt t="36186" x="8331200" y="1917700"/>
          <p14:tracePt t="36192" x="8348663" y="1957388"/>
          <p14:tracePt t="36200" x="8361363" y="1992313"/>
          <p14:tracePt t="36210" x="8366125" y="2006600"/>
          <p14:tracePt t="36215" x="8380413" y="2041525"/>
          <p14:tracePt t="36223" x="8388350" y="2073275"/>
          <p14:tracePt t="36230" x="8393113" y="2087563"/>
          <p14:tracePt t="36237" x="8397875" y="2095500"/>
          <p14:tracePt t="36246" x="8397875" y="2105025"/>
          <p14:tracePt t="36252" x="8397875" y="2109788"/>
          <p14:tracePt t="36261" x="8397875" y="2112963"/>
          <p14:tracePt t="36276" x="8397875" y="2117725"/>
          <p14:tracePt t="36282" x="8397875" y="2122488"/>
          <p14:tracePt t="36297" x="8397875" y="2127250"/>
          <p14:tracePt t="36305" x="8397875" y="2132013"/>
          <p14:tracePt t="36327" x="8402638" y="2132013"/>
          <p14:tracePt t="36334" x="8405813" y="2132013"/>
          <p14:tracePt t="36342" x="8415338" y="2136775"/>
          <p14:tracePt t="36348" x="8424863" y="2136775"/>
          <p14:tracePt t="36357" x="8432800" y="2136775"/>
          <p14:tracePt t="36364" x="8442325" y="2139950"/>
          <p14:tracePt t="36371" x="8451850" y="2139950"/>
          <p14:tracePt t="36379" x="8459788" y="2139950"/>
          <p14:tracePt t="36387" x="8469313" y="2139950"/>
          <p14:tracePt t="36394" x="8482013" y="2139950"/>
          <p14:tracePt t="36401" x="8496300" y="2139950"/>
          <p14:tracePt t="36410" x="8518525" y="2139950"/>
          <p14:tracePt t="36416" x="8550275" y="2139950"/>
          <p14:tracePt t="36426" x="8594725" y="2149475"/>
          <p14:tracePt t="36431" x="8643938" y="2154238"/>
          <p14:tracePt t="36439" x="8678863" y="2162175"/>
          <p14:tracePt t="36446" x="8720138" y="2176463"/>
          <p14:tracePt t="36454" x="8755063" y="2185988"/>
          <p14:tracePt t="36461" x="8794750" y="2198688"/>
          <p14:tracePt t="36469" x="8826500" y="2225675"/>
          <p14:tracePt t="36476" x="8843963" y="2243138"/>
          <p14:tracePt t="36483" x="8870950" y="2274888"/>
          <p14:tracePt t="36493" x="8893175" y="2297113"/>
          <p14:tracePt t="36498" x="8902700" y="2319338"/>
          <p14:tracePt t="36506" x="8920163" y="2336800"/>
          <p14:tracePt t="36513" x="8924925" y="2346325"/>
          <p14:tracePt t="36521" x="8934450" y="2354263"/>
          <p14:tracePt t="36530" x="8937625" y="2359025"/>
          <p14:tracePt t="36535" x="8942388" y="2368550"/>
          <p14:tracePt t="36550" x="8947150" y="2368550"/>
          <p14:tracePt t="36559" x="8951913" y="2378075"/>
          <p14:tracePt t="36573" x="8956675" y="2386013"/>
          <p14:tracePt t="36580" x="8961438" y="2386013"/>
          <p14:tracePt t="36588" x="8964613" y="2395538"/>
          <p14:tracePt t="36595" x="8978900" y="2400300"/>
          <p14:tracePt t="36603" x="8991600" y="2413000"/>
          <p14:tracePt t="36610" x="9005888" y="2422525"/>
          <p14:tracePt t="36618" x="9023350" y="2430463"/>
          <p14:tracePt t="36627" x="9036050" y="2439988"/>
          <p14:tracePt t="36632" x="9059863" y="2452688"/>
          <p14:tracePt t="36640" x="9082088" y="2471738"/>
          <p14:tracePt t="36647" x="9121775" y="2479675"/>
        </p14:tracePtLst>
      </p14:laserTraceLst>
    </p:ext>
  </p:extLs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13B203F9-1E27-4E57-902E-B40C20ADA7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396000"/>
            <a:ext cx="7560000" cy="468000"/>
          </a:xfrm>
        </p:spPr>
        <p:txBody>
          <a:bodyPr anchor="t">
            <a:normAutofit/>
          </a:bodyPr>
          <a:lstStyle/>
          <a:p>
            <a:pPr>
              <a:lnSpc>
                <a:spcPct val="90000"/>
              </a:lnSpc>
            </a:pPr>
            <a:r>
              <a:rPr lang="de-DE"/>
              <a:t>Sozialstruktur?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6F69610-9E3A-4D99-BF17-16DDE17C18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4000" y="4752000"/>
            <a:ext cx="252000" cy="108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6C8FC03C-C266-4645-ABC5-645062898383}" type="slidenum">
              <a:rPr lang="de-DE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12</a:t>
            </a:fld>
            <a:r>
              <a:rPr lang="de-DE" sz="700"/>
              <a:t> 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70F7C74-9112-406B-A0CC-08F6DDA1D2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8002" y="1003525"/>
            <a:ext cx="7560000" cy="3743975"/>
          </a:xfrm>
        </p:spPr>
        <p:txBody>
          <a:bodyPr/>
          <a:lstStyle/>
          <a:p>
            <a:r>
              <a:rPr lang="de-DE" sz="1800" b="0"/>
              <a:t>Mögliche Modelle (nächste Sitzungen)</a:t>
            </a:r>
          </a:p>
          <a:p>
            <a:endParaRPr lang="de-DE" sz="1800" b="0"/>
          </a:p>
          <a:p>
            <a:r>
              <a:rPr lang="de-DE" sz="1800" b="0"/>
              <a:t>1.  Klassenmodelle</a:t>
            </a:r>
          </a:p>
          <a:p>
            <a:r>
              <a:rPr lang="de-DE" sz="1800" b="0"/>
              <a:t>2.  Ständemodelle</a:t>
            </a:r>
          </a:p>
          <a:p>
            <a:r>
              <a:rPr lang="de-DE" sz="1800" b="0"/>
              <a:t>3.  Schichtenmodelle</a:t>
            </a:r>
          </a:p>
          <a:p>
            <a:endParaRPr lang="de-DE" sz="1800" b="0"/>
          </a:p>
          <a:p>
            <a:r>
              <a:rPr lang="de-DE" sz="1800" b="0"/>
              <a:t>4.  Ansätze zur Lebenslage/ Lebensstile</a:t>
            </a:r>
          </a:p>
          <a:p>
            <a:r>
              <a:rPr lang="de-DE" sz="1800" b="0"/>
              <a:t>5.  Betrachtung von Milieus</a:t>
            </a:r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80EED7B4-4A7B-4A99-B257-4E1E8E423A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0000" y="4752000"/>
            <a:ext cx="6300000" cy="108000"/>
          </a:xfrm>
        </p:spPr>
        <p:txBody>
          <a:bodyPr/>
          <a:lstStyle/>
          <a:p>
            <a:r>
              <a:rPr lang="de-DE"/>
              <a:t>Tutorien Sozialstruktur und sozialer Wandel | stina.</a:t>
            </a:r>
            <a:r>
              <a:rPr lang="de-DE" err="1"/>
              <a:t>runtemund</a:t>
            </a:r>
            <a:r>
              <a:rPr lang="de-DE"/>
              <a:t>@.rub.de                                  Fakultät für Sozialwissenschaft</a:t>
            </a:r>
          </a:p>
        </p:txBody>
      </p:sp>
    </p:spTree>
    <p:extLst>
      <p:ext uri="{BB962C8B-B14F-4D97-AF65-F5344CB8AC3E}">
        <p14:creationId xmlns:p14="http://schemas.microsoft.com/office/powerpoint/2010/main" val="3673802009"/>
      </p:ext>
    </p:extLst>
  </p:cSld>
  <p:clrMapOvr>
    <a:masterClrMapping/>
  </p:clrMapOvr>
  <p:extLst>
    <p:ext uri="{3A86A75C-4F4B-4683-9AE1-C65F6400EC91}">
      <p14:laserTraceLst xmlns:p14="http://schemas.microsoft.com/office/powerpoint/2010/main">
        <p14:tracePtLst>
          <p14:tracePt t="993" x="9050338" y="2784475"/>
          <p14:tracePt t="1000" x="8934450" y="2811463"/>
          <p14:tracePt t="1008" x="8826500" y="2836863"/>
          <p14:tracePt t="1015" x="8755063" y="2863850"/>
          <p14:tracePt t="1024" x="8737600" y="2873375"/>
          <p14:tracePt t="1030" x="8616950" y="2949575"/>
          <p14:tracePt t="1038" x="8509000" y="3011488"/>
          <p14:tracePt t="1046" x="8432800" y="3065463"/>
          <p14:tracePt t="1052" x="8375650" y="3114675"/>
          <p14:tracePt t="1060" x="8316913" y="3168650"/>
          <p14:tracePt t="1067" x="8277225" y="3208338"/>
          <p14:tracePt t="1076" x="8223250" y="3267075"/>
          <p14:tracePt t="1082" x="8183563" y="3316288"/>
          <p14:tracePt t="1092" x="8147050" y="3355975"/>
          <p14:tracePt t="1097" x="8120063" y="3395663"/>
          <p14:tracePt t="1105" x="8107363" y="3417888"/>
          <p14:tracePt t="1113" x="8097838" y="3436938"/>
          <p14:tracePt t="1120" x="8089900" y="3449638"/>
          <p14:tracePt t="1128" x="8089900" y="3459163"/>
          <p14:tracePt t="1134" x="8085138" y="3471863"/>
          <p14:tracePt t="1141" x="8085138" y="3476625"/>
          <p14:tracePt t="1149" x="8085138" y="3486150"/>
          <p14:tracePt t="1164" x="8085138" y="3489325"/>
          <p14:tracePt t="1172" x="8085138" y="3494088"/>
          <p14:tracePt t="1187" x="8085138" y="3498850"/>
          <p14:tracePt t="35128" x="8043863" y="3417888"/>
          <p14:tracePt t="35135" x="8018463" y="3373438"/>
          <p14:tracePt t="35143" x="7999413" y="3346450"/>
          <p14:tracePt t="35151" x="7991475" y="3333750"/>
          <p14:tracePt t="35160" x="7981950" y="3324225"/>
          <p14:tracePt t="35165" x="7977188" y="3321050"/>
          <p14:tracePt t="35173" x="7969250" y="3311525"/>
          <p14:tracePt t="35180" x="7959725" y="3297238"/>
          <p14:tracePt t="35188" x="7920038" y="3222625"/>
          <p14:tracePt t="35196" x="7851775" y="3038475"/>
          <p14:tracePt t="35203" x="7821613" y="2940050"/>
          <p14:tracePt t="35210" x="7799388" y="2851150"/>
          <p14:tracePt t="35218" x="7762875" y="2708275"/>
          <p14:tracePt t="35225" x="7731125" y="2516188"/>
          <p14:tracePt t="35232" x="7700963" y="2336800"/>
          <p14:tracePt t="35241" x="7678738" y="2132013"/>
          <p14:tracePt t="35247" x="7642225" y="1935163"/>
          <p14:tracePt t="35255" x="7629525" y="1831975"/>
          <p14:tracePt t="35262" x="7610475" y="1716088"/>
          <p14:tracePt t="35270" x="7593013" y="1595438"/>
          <p14:tracePt t="35277" x="7580313" y="1506538"/>
          <p14:tracePt t="35285" x="7561263" y="1403350"/>
          <p14:tracePt t="35292" x="7548563" y="1300163"/>
          <p14:tracePt t="35299" x="7521575" y="1174750"/>
          <p14:tracePt t="35309" x="7508875" y="1085850"/>
          <p14:tracePt t="35315" x="7486650" y="1004888"/>
          <p14:tracePt t="35322" x="7459663" y="903288"/>
          <p14:tracePt t="35329" x="7440613" y="782638"/>
          <p14:tracePt t="35337" x="7427913" y="692150"/>
          <p14:tracePt t="35344" x="7427913" y="620713"/>
          <p14:tracePt t="35352" x="7427913" y="531813"/>
          <p14:tracePt t="35359" x="7432675" y="442913"/>
          <p14:tracePt t="35367" x="7445375" y="352425"/>
          <p14:tracePt t="35375" x="7467600" y="280988"/>
          <p14:tracePt t="35381" x="7499350" y="196850"/>
          <p14:tracePt t="35389" x="7499350" y="182563"/>
          <p14:tracePt t="35398" x="7504113" y="179388"/>
          <p14:tracePt t="35404" x="7504113" y="174625"/>
          <p14:tracePt t="35418" x="7504113" y="169863"/>
          <p14:tracePt t="36059" x="7624763" y="393700"/>
          <p14:tracePt t="36066" x="7624763" y="401638"/>
          <p14:tracePt t="36076" x="7785100" y="692150"/>
          <p14:tracePt t="36081" x="7834313" y="795338"/>
          <p14:tracePt t="36088" x="7920038" y="952500"/>
          <p14:tracePt t="36096" x="7991475" y="1108075"/>
          <p14:tracePt t="36103" x="8048625" y="1243013"/>
          <p14:tracePt t="36111" x="8097838" y="1376363"/>
          <p14:tracePt t="36118" x="8124825" y="1447800"/>
          <p14:tracePt t="36126" x="8164513" y="1524000"/>
          <p14:tracePt t="36133" x="8191500" y="1600200"/>
          <p14:tracePt t="36142" x="8213725" y="1654175"/>
          <p14:tracePt t="36148" x="8237538" y="1711325"/>
          <p14:tracePt t="36156" x="8262938" y="1751013"/>
          <p14:tracePt t="36163" x="8277225" y="1797050"/>
          <p14:tracePt t="36171" x="8294688" y="1836738"/>
          <p14:tracePt t="36178" x="8316913" y="1876425"/>
          <p14:tracePt t="36186" x="8331200" y="1917700"/>
          <p14:tracePt t="36192" x="8348663" y="1957388"/>
          <p14:tracePt t="36200" x="8361363" y="1992313"/>
          <p14:tracePt t="36210" x="8366125" y="2006600"/>
          <p14:tracePt t="36215" x="8380413" y="2041525"/>
          <p14:tracePt t="36223" x="8388350" y="2073275"/>
          <p14:tracePt t="36230" x="8393113" y="2087563"/>
          <p14:tracePt t="36237" x="8397875" y="2095500"/>
          <p14:tracePt t="36246" x="8397875" y="2105025"/>
          <p14:tracePt t="36252" x="8397875" y="2109788"/>
          <p14:tracePt t="36261" x="8397875" y="2112963"/>
          <p14:tracePt t="36276" x="8397875" y="2117725"/>
          <p14:tracePt t="36282" x="8397875" y="2122488"/>
          <p14:tracePt t="36297" x="8397875" y="2127250"/>
          <p14:tracePt t="36305" x="8397875" y="2132013"/>
          <p14:tracePt t="36327" x="8402638" y="2132013"/>
          <p14:tracePt t="36334" x="8405813" y="2132013"/>
          <p14:tracePt t="36342" x="8415338" y="2136775"/>
          <p14:tracePt t="36348" x="8424863" y="2136775"/>
          <p14:tracePt t="36357" x="8432800" y="2136775"/>
          <p14:tracePt t="36364" x="8442325" y="2139950"/>
          <p14:tracePt t="36371" x="8451850" y="2139950"/>
          <p14:tracePt t="36379" x="8459788" y="2139950"/>
          <p14:tracePt t="36387" x="8469313" y="2139950"/>
          <p14:tracePt t="36394" x="8482013" y="2139950"/>
          <p14:tracePt t="36401" x="8496300" y="2139950"/>
          <p14:tracePt t="36410" x="8518525" y="2139950"/>
          <p14:tracePt t="36416" x="8550275" y="2139950"/>
          <p14:tracePt t="36426" x="8594725" y="2149475"/>
          <p14:tracePt t="36431" x="8643938" y="2154238"/>
          <p14:tracePt t="36439" x="8678863" y="2162175"/>
          <p14:tracePt t="36446" x="8720138" y="2176463"/>
          <p14:tracePt t="36454" x="8755063" y="2185988"/>
          <p14:tracePt t="36461" x="8794750" y="2198688"/>
          <p14:tracePt t="36469" x="8826500" y="2225675"/>
          <p14:tracePt t="36476" x="8843963" y="2243138"/>
          <p14:tracePt t="36483" x="8870950" y="2274888"/>
          <p14:tracePt t="36493" x="8893175" y="2297113"/>
          <p14:tracePt t="36498" x="8902700" y="2319338"/>
          <p14:tracePt t="36506" x="8920163" y="2336800"/>
          <p14:tracePt t="36513" x="8924925" y="2346325"/>
          <p14:tracePt t="36521" x="8934450" y="2354263"/>
          <p14:tracePt t="36530" x="8937625" y="2359025"/>
          <p14:tracePt t="36535" x="8942388" y="2368550"/>
          <p14:tracePt t="36550" x="8947150" y="2368550"/>
          <p14:tracePt t="36559" x="8951913" y="2378075"/>
          <p14:tracePt t="36573" x="8956675" y="2386013"/>
          <p14:tracePt t="36580" x="8961438" y="2386013"/>
          <p14:tracePt t="36588" x="8964613" y="2395538"/>
          <p14:tracePt t="36595" x="8978900" y="2400300"/>
          <p14:tracePt t="36603" x="8991600" y="2413000"/>
          <p14:tracePt t="36610" x="9005888" y="2422525"/>
          <p14:tracePt t="36618" x="9023350" y="2430463"/>
          <p14:tracePt t="36627" x="9036050" y="2439988"/>
          <p14:tracePt t="36632" x="9059863" y="2452688"/>
          <p14:tracePt t="36640" x="9082088" y="2471738"/>
          <p14:tracePt t="36647" x="9121775" y="2479675"/>
        </p14:tracePtLst>
      </p14:laserTraceLst>
    </p:ext>
  </p:extLs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13B203F9-1E27-4E57-902E-B40C20ADA7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396000"/>
            <a:ext cx="7560000" cy="468000"/>
          </a:xfrm>
        </p:spPr>
        <p:txBody>
          <a:bodyPr anchor="t">
            <a:normAutofit/>
          </a:bodyPr>
          <a:lstStyle/>
          <a:p>
            <a:pPr>
              <a:lnSpc>
                <a:spcPct val="90000"/>
              </a:lnSpc>
            </a:pPr>
            <a:r>
              <a:rPr lang="de-DE"/>
              <a:t>Grundlagen: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6F69610-9E3A-4D99-BF17-16DDE17C18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4000" y="4752000"/>
            <a:ext cx="252000" cy="108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6C8FC03C-C266-4645-ABC5-645062898383}" type="slidenum">
              <a:rPr lang="de-DE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13</a:t>
            </a:fld>
            <a:r>
              <a:rPr lang="de-DE" sz="700"/>
              <a:t> 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70F7C74-9112-406B-A0CC-08F6DDA1D2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4448" y="987574"/>
            <a:ext cx="7560000" cy="3366000"/>
          </a:xfrm>
        </p:spPr>
        <p:txBody>
          <a:bodyPr/>
          <a:lstStyle/>
          <a:p>
            <a:endParaRPr lang="de-DE" sz="1800" b="0" i="1"/>
          </a:p>
          <a:p>
            <a:endParaRPr lang="de-DE" sz="1800" b="0" i="1"/>
          </a:p>
          <a:p>
            <a:endParaRPr lang="de-DE" sz="1800" b="0" i="1"/>
          </a:p>
          <a:p>
            <a:pPr algn="ctr"/>
            <a:r>
              <a:rPr lang="de-DE" sz="2500"/>
              <a:t>Beispiele für Analysemerkmale?</a:t>
            </a:r>
          </a:p>
        </p:txBody>
      </p:sp>
      <p:sp>
        <p:nvSpPr>
          <p:cNvPr id="9" name="Fußzeilenplatzhalter 3">
            <a:extLst>
              <a:ext uri="{FF2B5EF4-FFF2-40B4-BE49-F238E27FC236}">
                <a16:creationId xmlns:a16="http://schemas.microsoft.com/office/drawing/2014/main" id="{4065785F-4BA7-4905-9800-0CFFB0A3F4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0000" y="4752000"/>
            <a:ext cx="6300000" cy="108000"/>
          </a:xfrm>
        </p:spPr>
        <p:txBody>
          <a:bodyPr/>
          <a:lstStyle/>
          <a:p>
            <a:r>
              <a:rPr lang="de-DE"/>
              <a:t>Tutorien Sozialstruktur und sozialer Wandel | stina.</a:t>
            </a:r>
            <a:r>
              <a:rPr lang="de-DE" err="1"/>
              <a:t>runtemund</a:t>
            </a:r>
            <a:r>
              <a:rPr lang="de-DE"/>
              <a:t>@.rub.de                                  Fakultät für Sozialwissenschaft</a:t>
            </a:r>
          </a:p>
        </p:txBody>
      </p:sp>
    </p:spTree>
    <p:extLst>
      <p:ext uri="{BB962C8B-B14F-4D97-AF65-F5344CB8AC3E}">
        <p14:creationId xmlns:p14="http://schemas.microsoft.com/office/powerpoint/2010/main" val="1963537176"/>
      </p:ext>
    </p:extLst>
  </p:cSld>
  <p:clrMapOvr>
    <a:masterClrMapping/>
  </p:clrMapOvr>
  <p:extLst>
    <p:ext uri="{3A86A75C-4F4B-4683-9AE1-C65F6400EC91}">
      <p14:laserTraceLst xmlns:p14="http://schemas.microsoft.com/office/powerpoint/2010/main">
        <p14:tracePtLst>
          <p14:tracePt t="993" x="9050338" y="2784475"/>
          <p14:tracePt t="1000" x="8934450" y="2811463"/>
          <p14:tracePt t="1008" x="8826500" y="2836863"/>
          <p14:tracePt t="1015" x="8755063" y="2863850"/>
          <p14:tracePt t="1024" x="8737600" y="2873375"/>
          <p14:tracePt t="1030" x="8616950" y="2949575"/>
          <p14:tracePt t="1038" x="8509000" y="3011488"/>
          <p14:tracePt t="1046" x="8432800" y="3065463"/>
          <p14:tracePt t="1052" x="8375650" y="3114675"/>
          <p14:tracePt t="1060" x="8316913" y="3168650"/>
          <p14:tracePt t="1067" x="8277225" y="3208338"/>
          <p14:tracePt t="1076" x="8223250" y="3267075"/>
          <p14:tracePt t="1082" x="8183563" y="3316288"/>
          <p14:tracePt t="1092" x="8147050" y="3355975"/>
          <p14:tracePt t="1097" x="8120063" y="3395663"/>
          <p14:tracePt t="1105" x="8107363" y="3417888"/>
          <p14:tracePt t="1113" x="8097838" y="3436938"/>
          <p14:tracePt t="1120" x="8089900" y="3449638"/>
          <p14:tracePt t="1128" x="8089900" y="3459163"/>
          <p14:tracePt t="1134" x="8085138" y="3471863"/>
          <p14:tracePt t="1141" x="8085138" y="3476625"/>
          <p14:tracePt t="1149" x="8085138" y="3486150"/>
          <p14:tracePt t="1164" x="8085138" y="3489325"/>
          <p14:tracePt t="1172" x="8085138" y="3494088"/>
          <p14:tracePt t="1187" x="8085138" y="3498850"/>
          <p14:tracePt t="35128" x="8043863" y="3417888"/>
          <p14:tracePt t="35135" x="8018463" y="3373438"/>
          <p14:tracePt t="35143" x="7999413" y="3346450"/>
          <p14:tracePt t="35151" x="7991475" y="3333750"/>
          <p14:tracePt t="35160" x="7981950" y="3324225"/>
          <p14:tracePt t="35165" x="7977188" y="3321050"/>
          <p14:tracePt t="35173" x="7969250" y="3311525"/>
          <p14:tracePt t="35180" x="7959725" y="3297238"/>
          <p14:tracePt t="35188" x="7920038" y="3222625"/>
          <p14:tracePt t="35196" x="7851775" y="3038475"/>
          <p14:tracePt t="35203" x="7821613" y="2940050"/>
          <p14:tracePt t="35210" x="7799388" y="2851150"/>
          <p14:tracePt t="35218" x="7762875" y="2708275"/>
          <p14:tracePt t="35225" x="7731125" y="2516188"/>
          <p14:tracePt t="35232" x="7700963" y="2336800"/>
          <p14:tracePt t="35241" x="7678738" y="2132013"/>
          <p14:tracePt t="35247" x="7642225" y="1935163"/>
          <p14:tracePt t="35255" x="7629525" y="1831975"/>
          <p14:tracePt t="35262" x="7610475" y="1716088"/>
          <p14:tracePt t="35270" x="7593013" y="1595438"/>
          <p14:tracePt t="35277" x="7580313" y="1506538"/>
          <p14:tracePt t="35285" x="7561263" y="1403350"/>
          <p14:tracePt t="35292" x="7548563" y="1300163"/>
          <p14:tracePt t="35299" x="7521575" y="1174750"/>
          <p14:tracePt t="35309" x="7508875" y="1085850"/>
          <p14:tracePt t="35315" x="7486650" y="1004888"/>
          <p14:tracePt t="35322" x="7459663" y="903288"/>
          <p14:tracePt t="35329" x="7440613" y="782638"/>
          <p14:tracePt t="35337" x="7427913" y="692150"/>
          <p14:tracePt t="35344" x="7427913" y="620713"/>
          <p14:tracePt t="35352" x="7427913" y="531813"/>
          <p14:tracePt t="35359" x="7432675" y="442913"/>
          <p14:tracePt t="35367" x="7445375" y="352425"/>
          <p14:tracePt t="35375" x="7467600" y="280988"/>
          <p14:tracePt t="35381" x="7499350" y="196850"/>
          <p14:tracePt t="35389" x="7499350" y="182563"/>
          <p14:tracePt t="35398" x="7504113" y="179388"/>
          <p14:tracePt t="35404" x="7504113" y="174625"/>
          <p14:tracePt t="35418" x="7504113" y="169863"/>
          <p14:tracePt t="36059" x="7624763" y="393700"/>
          <p14:tracePt t="36066" x="7624763" y="401638"/>
          <p14:tracePt t="36076" x="7785100" y="692150"/>
          <p14:tracePt t="36081" x="7834313" y="795338"/>
          <p14:tracePt t="36088" x="7920038" y="952500"/>
          <p14:tracePt t="36096" x="7991475" y="1108075"/>
          <p14:tracePt t="36103" x="8048625" y="1243013"/>
          <p14:tracePt t="36111" x="8097838" y="1376363"/>
          <p14:tracePt t="36118" x="8124825" y="1447800"/>
          <p14:tracePt t="36126" x="8164513" y="1524000"/>
          <p14:tracePt t="36133" x="8191500" y="1600200"/>
          <p14:tracePt t="36142" x="8213725" y="1654175"/>
          <p14:tracePt t="36148" x="8237538" y="1711325"/>
          <p14:tracePt t="36156" x="8262938" y="1751013"/>
          <p14:tracePt t="36163" x="8277225" y="1797050"/>
          <p14:tracePt t="36171" x="8294688" y="1836738"/>
          <p14:tracePt t="36178" x="8316913" y="1876425"/>
          <p14:tracePt t="36186" x="8331200" y="1917700"/>
          <p14:tracePt t="36192" x="8348663" y="1957388"/>
          <p14:tracePt t="36200" x="8361363" y="1992313"/>
          <p14:tracePt t="36210" x="8366125" y="2006600"/>
          <p14:tracePt t="36215" x="8380413" y="2041525"/>
          <p14:tracePt t="36223" x="8388350" y="2073275"/>
          <p14:tracePt t="36230" x="8393113" y="2087563"/>
          <p14:tracePt t="36237" x="8397875" y="2095500"/>
          <p14:tracePt t="36246" x="8397875" y="2105025"/>
          <p14:tracePt t="36252" x="8397875" y="2109788"/>
          <p14:tracePt t="36261" x="8397875" y="2112963"/>
          <p14:tracePt t="36276" x="8397875" y="2117725"/>
          <p14:tracePt t="36282" x="8397875" y="2122488"/>
          <p14:tracePt t="36297" x="8397875" y="2127250"/>
          <p14:tracePt t="36305" x="8397875" y="2132013"/>
          <p14:tracePt t="36327" x="8402638" y="2132013"/>
          <p14:tracePt t="36334" x="8405813" y="2132013"/>
          <p14:tracePt t="36342" x="8415338" y="2136775"/>
          <p14:tracePt t="36348" x="8424863" y="2136775"/>
          <p14:tracePt t="36357" x="8432800" y="2136775"/>
          <p14:tracePt t="36364" x="8442325" y="2139950"/>
          <p14:tracePt t="36371" x="8451850" y="2139950"/>
          <p14:tracePt t="36379" x="8459788" y="2139950"/>
          <p14:tracePt t="36387" x="8469313" y="2139950"/>
          <p14:tracePt t="36394" x="8482013" y="2139950"/>
          <p14:tracePt t="36401" x="8496300" y="2139950"/>
          <p14:tracePt t="36410" x="8518525" y="2139950"/>
          <p14:tracePt t="36416" x="8550275" y="2139950"/>
          <p14:tracePt t="36426" x="8594725" y="2149475"/>
          <p14:tracePt t="36431" x="8643938" y="2154238"/>
          <p14:tracePt t="36439" x="8678863" y="2162175"/>
          <p14:tracePt t="36446" x="8720138" y="2176463"/>
          <p14:tracePt t="36454" x="8755063" y="2185988"/>
          <p14:tracePt t="36461" x="8794750" y="2198688"/>
          <p14:tracePt t="36469" x="8826500" y="2225675"/>
          <p14:tracePt t="36476" x="8843963" y="2243138"/>
          <p14:tracePt t="36483" x="8870950" y="2274888"/>
          <p14:tracePt t="36493" x="8893175" y="2297113"/>
          <p14:tracePt t="36498" x="8902700" y="2319338"/>
          <p14:tracePt t="36506" x="8920163" y="2336800"/>
          <p14:tracePt t="36513" x="8924925" y="2346325"/>
          <p14:tracePt t="36521" x="8934450" y="2354263"/>
          <p14:tracePt t="36530" x="8937625" y="2359025"/>
          <p14:tracePt t="36535" x="8942388" y="2368550"/>
          <p14:tracePt t="36550" x="8947150" y="2368550"/>
          <p14:tracePt t="36559" x="8951913" y="2378075"/>
          <p14:tracePt t="36573" x="8956675" y="2386013"/>
          <p14:tracePt t="36580" x="8961438" y="2386013"/>
          <p14:tracePt t="36588" x="8964613" y="2395538"/>
          <p14:tracePt t="36595" x="8978900" y="2400300"/>
          <p14:tracePt t="36603" x="8991600" y="2413000"/>
          <p14:tracePt t="36610" x="9005888" y="2422525"/>
          <p14:tracePt t="36618" x="9023350" y="2430463"/>
          <p14:tracePt t="36627" x="9036050" y="2439988"/>
          <p14:tracePt t="36632" x="9059863" y="2452688"/>
          <p14:tracePt t="36640" x="9082088" y="2471738"/>
          <p14:tracePt t="36647" x="9121775" y="2479675"/>
        </p14:tracePtLst>
      </p14:laserTraceLst>
    </p:ext>
  </p:extLs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13B203F9-1E27-4E57-902E-B40C20ADA7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396000"/>
            <a:ext cx="7560000" cy="468000"/>
          </a:xfrm>
        </p:spPr>
        <p:txBody>
          <a:bodyPr anchor="t">
            <a:normAutofit/>
          </a:bodyPr>
          <a:lstStyle/>
          <a:p>
            <a:pPr>
              <a:lnSpc>
                <a:spcPct val="90000"/>
              </a:lnSpc>
            </a:pPr>
            <a:r>
              <a:rPr lang="de-DE"/>
              <a:t>Analysedimensionen: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6F69610-9E3A-4D99-BF17-16DDE17C18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4000" y="4752000"/>
            <a:ext cx="252000" cy="108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6C8FC03C-C266-4645-ABC5-645062898383}" type="slidenum">
              <a:rPr lang="de-DE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14</a:t>
            </a:fld>
            <a:r>
              <a:rPr lang="de-DE" sz="700"/>
              <a:t> 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70F7C74-9112-406B-A0CC-08F6DDA1D2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4448" y="987574"/>
            <a:ext cx="7560000" cy="3366000"/>
          </a:xfrm>
        </p:spPr>
        <p:txBody>
          <a:bodyPr/>
          <a:lstStyle/>
          <a:p>
            <a:endParaRPr lang="de-DE" sz="1800" b="0" i="1"/>
          </a:p>
          <a:p>
            <a:endParaRPr lang="de-DE" sz="1800" b="0" i="1"/>
          </a:p>
          <a:p>
            <a:endParaRPr lang="de-DE" sz="1800" b="0" i="1"/>
          </a:p>
          <a:p>
            <a:r>
              <a:rPr lang="de-DE" sz="2500" i="1"/>
              <a:t>                    Vertikal und Horizontal??</a:t>
            </a:r>
          </a:p>
          <a:p>
            <a:endParaRPr lang="de-DE" sz="1800" b="0"/>
          </a:p>
          <a:p>
            <a:pPr marL="342900" indent="-342900">
              <a:buAutoNum type="arabicPeriod"/>
            </a:pPr>
            <a:endParaRPr lang="de-DE" sz="1800" b="0"/>
          </a:p>
          <a:p>
            <a:pPr marL="342900" indent="-342900">
              <a:buAutoNum type="arabicPeriod"/>
            </a:pPr>
            <a:endParaRPr lang="de-DE" sz="1800" b="0"/>
          </a:p>
          <a:p>
            <a:pPr marL="342900" indent="-342900">
              <a:buAutoNum type="arabicPeriod"/>
            </a:pPr>
            <a:endParaRPr lang="de-DE" sz="1600" b="0"/>
          </a:p>
        </p:txBody>
      </p:sp>
      <p:sp>
        <p:nvSpPr>
          <p:cNvPr id="9" name="Fußzeilenplatzhalter 3">
            <a:extLst>
              <a:ext uri="{FF2B5EF4-FFF2-40B4-BE49-F238E27FC236}">
                <a16:creationId xmlns:a16="http://schemas.microsoft.com/office/drawing/2014/main" id="{4065785F-4BA7-4905-9800-0CFFB0A3F4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0000" y="4752000"/>
            <a:ext cx="6300000" cy="108000"/>
          </a:xfrm>
        </p:spPr>
        <p:txBody>
          <a:bodyPr/>
          <a:lstStyle/>
          <a:p>
            <a:r>
              <a:rPr lang="de-DE"/>
              <a:t>Tutorien Sozialstruktur und sozialer Wandel | stina.</a:t>
            </a:r>
            <a:r>
              <a:rPr lang="de-DE" err="1"/>
              <a:t>runtemund</a:t>
            </a:r>
            <a:r>
              <a:rPr lang="de-DE"/>
              <a:t>@.rub.de                                  Fakultät für Sozialwissenschaft</a:t>
            </a:r>
          </a:p>
        </p:txBody>
      </p:sp>
      <p:sp>
        <p:nvSpPr>
          <p:cNvPr id="2" name="Sprechblase: rechteckig mit abgerundeten Ecken 1">
            <a:extLst>
              <a:ext uri="{FF2B5EF4-FFF2-40B4-BE49-F238E27FC236}">
                <a16:creationId xmlns:a16="http://schemas.microsoft.com/office/drawing/2014/main" id="{E6C49FBE-5219-4FDF-0FD6-D29FA45242E5}"/>
              </a:ext>
            </a:extLst>
          </p:cNvPr>
          <p:cNvSpPr/>
          <p:nvPr/>
        </p:nvSpPr>
        <p:spPr>
          <a:xfrm>
            <a:off x="5436096" y="550333"/>
            <a:ext cx="2304256" cy="1224136"/>
          </a:xfrm>
          <a:prstGeom prst="wedgeRoundRectCallout">
            <a:avLst>
              <a:gd name="adj1" fmla="val -20833"/>
              <a:gd name="adj2" fmla="val 62500"/>
              <a:gd name="adj3" fmla="val 16667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/>
              <a:t>Schon mal was von gehört?</a:t>
            </a:r>
          </a:p>
        </p:txBody>
      </p:sp>
    </p:spTree>
    <p:extLst>
      <p:ext uri="{BB962C8B-B14F-4D97-AF65-F5344CB8AC3E}">
        <p14:creationId xmlns:p14="http://schemas.microsoft.com/office/powerpoint/2010/main" val="50928729"/>
      </p:ext>
    </p:extLst>
  </p:cSld>
  <p:clrMapOvr>
    <a:masterClrMapping/>
  </p:clrMapOvr>
  <p:extLst>
    <p:ext uri="{3A86A75C-4F4B-4683-9AE1-C65F6400EC91}">
      <p14:laserTraceLst xmlns:p14="http://schemas.microsoft.com/office/powerpoint/2010/main">
        <p14:tracePtLst>
          <p14:tracePt t="993" x="9050338" y="2784475"/>
          <p14:tracePt t="1000" x="8934450" y="2811463"/>
          <p14:tracePt t="1008" x="8826500" y="2836863"/>
          <p14:tracePt t="1015" x="8755063" y="2863850"/>
          <p14:tracePt t="1024" x="8737600" y="2873375"/>
          <p14:tracePt t="1030" x="8616950" y="2949575"/>
          <p14:tracePt t="1038" x="8509000" y="3011488"/>
          <p14:tracePt t="1046" x="8432800" y="3065463"/>
          <p14:tracePt t="1052" x="8375650" y="3114675"/>
          <p14:tracePt t="1060" x="8316913" y="3168650"/>
          <p14:tracePt t="1067" x="8277225" y="3208338"/>
          <p14:tracePt t="1076" x="8223250" y="3267075"/>
          <p14:tracePt t="1082" x="8183563" y="3316288"/>
          <p14:tracePt t="1092" x="8147050" y="3355975"/>
          <p14:tracePt t="1097" x="8120063" y="3395663"/>
          <p14:tracePt t="1105" x="8107363" y="3417888"/>
          <p14:tracePt t="1113" x="8097838" y="3436938"/>
          <p14:tracePt t="1120" x="8089900" y="3449638"/>
          <p14:tracePt t="1128" x="8089900" y="3459163"/>
          <p14:tracePt t="1134" x="8085138" y="3471863"/>
          <p14:tracePt t="1141" x="8085138" y="3476625"/>
          <p14:tracePt t="1149" x="8085138" y="3486150"/>
          <p14:tracePt t="1164" x="8085138" y="3489325"/>
          <p14:tracePt t="1172" x="8085138" y="3494088"/>
          <p14:tracePt t="1187" x="8085138" y="3498850"/>
          <p14:tracePt t="35128" x="8043863" y="3417888"/>
          <p14:tracePt t="35135" x="8018463" y="3373438"/>
          <p14:tracePt t="35143" x="7999413" y="3346450"/>
          <p14:tracePt t="35151" x="7991475" y="3333750"/>
          <p14:tracePt t="35160" x="7981950" y="3324225"/>
          <p14:tracePt t="35165" x="7977188" y="3321050"/>
          <p14:tracePt t="35173" x="7969250" y="3311525"/>
          <p14:tracePt t="35180" x="7959725" y="3297238"/>
          <p14:tracePt t="35188" x="7920038" y="3222625"/>
          <p14:tracePt t="35196" x="7851775" y="3038475"/>
          <p14:tracePt t="35203" x="7821613" y="2940050"/>
          <p14:tracePt t="35210" x="7799388" y="2851150"/>
          <p14:tracePt t="35218" x="7762875" y="2708275"/>
          <p14:tracePt t="35225" x="7731125" y="2516188"/>
          <p14:tracePt t="35232" x="7700963" y="2336800"/>
          <p14:tracePt t="35241" x="7678738" y="2132013"/>
          <p14:tracePt t="35247" x="7642225" y="1935163"/>
          <p14:tracePt t="35255" x="7629525" y="1831975"/>
          <p14:tracePt t="35262" x="7610475" y="1716088"/>
          <p14:tracePt t="35270" x="7593013" y="1595438"/>
          <p14:tracePt t="35277" x="7580313" y="1506538"/>
          <p14:tracePt t="35285" x="7561263" y="1403350"/>
          <p14:tracePt t="35292" x="7548563" y="1300163"/>
          <p14:tracePt t="35299" x="7521575" y="1174750"/>
          <p14:tracePt t="35309" x="7508875" y="1085850"/>
          <p14:tracePt t="35315" x="7486650" y="1004888"/>
          <p14:tracePt t="35322" x="7459663" y="903288"/>
          <p14:tracePt t="35329" x="7440613" y="782638"/>
          <p14:tracePt t="35337" x="7427913" y="692150"/>
          <p14:tracePt t="35344" x="7427913" y="620713"/>
          <p14:tracePt t="35352" x="7427913" y="531813"/>
          <p14:tracePt t="35359" x="7432675" y="442913"/>
          <p14:tracePt t="35367" x="7445375" y="352425"/>
          <p14:tracePt t="35375" x="7467600" y="280988"/>
          <p14:tracePt t="35381" x="7499350" y="196850"/>
          <p14:tracePt t="35389" x="7499350" y="182563"/>
          <p14:tracePt t="35398" x="7504113" y="179388"/>
          <p14:tracePt t="35404" x="7504113" y="174625"/>
          <p14:tracePt t="35418" x="7504113" y="169863"/>
          <p14:tracePt t="36059" x="7624763" y="393700"/>
          <p14:tracePt t="36066" x="7624763" y="401638"/>
          <p14:tracePt t="36076" x="7785100" y="692150"/>
          <p14:tracePt t="36081" x="7834313" y="795338"/>
          <p14:tracePt t="36088" x="7920038" y="952500"/>
          <p14:tracePt t="36096" x="7991475" y="1108075"/>
          <p14:tracePt t="36103" x="8048625" y="1243013"/>
          <p14:tracePt t="36111" x="8097838" y="1376363"/>
          <p14:tracePt t="36118" x="8124825" y="1447800"/>
          <p14:tracePt t="36126" x="8164513" y="1524000"/>
          <p14:tracePt t="36133" x="8191500" y="1600200"/>
          <p14:tracePt t="36142" x="8213725" y="1654175"/>
          <p14:tracePt t="36148" x="8237538" y="1711325"/>
          <p14:tracePt t="36156" x="8262938" y="1751013"/>
          <p14:tracePt t="36163" x="8277225" y="1797050"/>
          <p14:tracePt t="36171" x="8294688" y="1836738"/>
          <p14:tracePt t="36178" x="8316913" y="1876425"/>
          <p14:tracePt t="36186" x="8331200" y="1917700"/>
          <p14:tracePt t="36192" x="8348663" y="1957388"/>
          <p14:tracePt t="36200" x="8361363" y="1992313"/>
          <p14:tracePt t="36210" x="8366125" y="2006600"/>
          <p14:tracePt t="36215" x="8380413" y="2041525"/>
          <p14:tracePt t="36223" x="8388350" y="2073275"/>
          <p14:tracePt t="36230" x="8393113" y="2087563"/>
          <p14:tracePt t="36237" x="8397875" y="2095500"/>
          <p14:tracePt t="36246" x="8397875" y="2105025"/>
          <p14:tracePt t="36252" x="8397875" y="2109788"/>
          <p14:tracePt t="36261" x="8397875" y="2112963"/>
          <p14:tracePt t="36276" x="8397875" y="2117725"/>
          <p14:tracePt t="36282" x="8397875" y="2122488"/>
          <p14:tracePt t="36297" x="8397875" y="2127250"/>
          <p14:tracePt t="36305" x="8397875" y="2132013"/>
          <p14:tracePt t="36327" x="8402638" y="2132013"/>
          <p14:tracePt t="36334" x="8405813" y="2132013"/>
          <p14:tracePt t="36342" x="8415338" y="2136775"/>
          <p14:tracePt t="36348" x="8424863" y="2136775"/>
          <p14:tracePt t="36357" x="8432800" y="2136775"/>
          <p14:tracePt t="36364" x="8442325" y="2139950"/>
          <p14:tracePt t="36371" x="8451850" y="2139950"/>
          <p14:tracePt t="36379" x="8459788" y="2139950"/>
          <p14:tracePt t="36387" x="8469313" y="2139950"/>
          <p14:tracePt t="36394" x="8482013" y="2139950"/>
          <p14:tracePt t="36401" x="8496300" y="2139950"/>
          <p14:tracePt t="36410" x="8518525" y="2139950"/>
          <p14:tracePt t="36416" x="8550275" y="2139950"/>
          <p14:tracePt t="36426" x="8594725" y="2149475"/>
          <p14:tracePt t="36431" x="8643938" y="2154238"/>
          <p14:tracePt t="36439" x="8678863" y="2162175"/>
          <p14:tracePt t="36446" x="8720138" y="2176463"/>
          <p14:tracePt t="36454" x="8755063" y="2185988"/>
          <p14:tracePt t="36461" x="8794750" y="2198688"/>
          <p14:tracePt t="36469" x="8826500" y="2225675"/>
          <p14:tracePt t="36476" x="8843963" y="2243138"/>
          <p14:tracePt t="36483" x="8870950" y="2274888"/>
          <p14:tracePt t="36493" x="8893175" y="2297113"/>
          <p14:tracePt t="36498" x="8902700" y="2319338"/>
          <p14:tracePt t="36506" x="8920163" y="2336800"/>
          <p14:tracePt t="36513" x="8924925" y="2346325"/>
          <p14:tracePt t="36521" x="8934450" y="2354263"/>
          <p14:tracePt t="36530" x="8937625" y="2359025"/>
          <p14:tracePt t="36535" x="8942388" y="2368550"/>
          <p14:tracePt t="36550" x="8947150" y="2368550"/>
          <p14:tracePt t="36559" x="8951913" y="2378075"/>
          <p14:tracePt t="36573" x="8956675" y="2386013"/>
          <p14:tracePt t="36580" x="8961438" y="2386013"/>
          <p14:tracePt t="36588" x="8964613" y="2395538"/>
          <p14:tracePt t="36595" x="8978900" y="2400300"/>
          <p14:tracePt t="36603" x="8991600" y="2413000"/>
          <p14:tracePt t="36610" x="9005888" y="2422525"/>
          <p14:tracePt t="36618" x="9023350" y="2430463"/>
          <p14:tracePt t="36627" x="9036050" y="2439988"/>
          <p14:tracePt t="36632" x="9059863" y="2452688"/>
          <p14:tracePt t="36640" x="9082088" y="2471738"/>
          <p14:tracePt t="36647" x="9121775" y="2479675"/>
        </p14:tracePtLst>
      </p14:laserTraceLst>
    </p:ext>
  </p:extLs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13B203F9-1E27-4E57-902E-B40C20ADA7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249518"/>
            <a:ext cx="7560000" cy="468000"/>
          </a:xfrm>
        </p:spPr>
        <p:txBody>
          <a:bodyPr anchor="t">
            <a:normAutofit/>
          </a:bodyPr>
          <a:lstStyle/>
          <a:p>
            <a:pPr>
              <a:lnSpc>
                <a:spcPct val="90000"/>
              </a:lnSpc>
            </a:pPr>
            <a:r>
              <a:rPr lang="de-DE"/>
              <a:t>Vertikal und horizontale Analysemerkmale</a:t>
            </a:r>
            <a:endParaRPr lang="en-US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1AE0A09-480E-44F6-BDAB-8FE8A65C65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0000" y="4752000"/>
            <a:ext cx="6300000" cy="108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e-DE" sz="700"/>
              <a:t>Allgemeine Masterberatung | masterberatung@sowi.rub.de                                    Fakultät für Sozialwissenschaft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6F69610-9E3A-4D99-BF17-16DDE17C18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4000" y="4752000"/>
            <a:ext cx="252000" cy="108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6C8FC03C-C266-4645-ABC5-645062898383}" type="slidenum">
              <a:rPr lang="de-DE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15</a:t>
            </a:fld>
            <a:r>
              <a:rPr lang="de-DE" sz="700"/>
              <a:t> 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70F7C74-9112-406B-A0CC-08F6DDA1D2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3317" y="856628"/>
            <a:ext cx="8119686" cy="3756262"/>
          </a:xfrm>
        </p:spPr>
        <p:txBody>
          <a:bodyPr/>
          <a:lstStyle/>
          <a:p>
            <a:r>
              <a:rPr lang="de-DE" sz="1600" b="0"/>
              <a:t>Vertikal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0"/>
              <a:t>Merkmale der </a:t>
            </a:r>
            <a:r>
              <a:rPr lang="de-DE" sz="1600"/>
              <a:t>traditionellen</a:t>
            </a:r>
            <a:r>
              <a:rPr lang="de-DE" sz="1600" b="0"/>
              <a:t> Sozialstrukturanalyse (z.B. Klassen-Schichtenmodell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0"/>
              <a:t>Objektive Strukturmerkmal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0"/>
              <a:t>Herachie von </a:t>
            </a:r>
            <a:r>
              <a:rPr lang="de-DE" sz="1600"/>
              <a:t>„oben nach unten“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0"/>
              <a:t>Typischer Drei-Klang (</a:t>
            </a:r>
            <a:r>
              <a:rPr lang="de-DE" sz="1600"/>
              <a:t>1. Bildung, 2. Beruf, 3. Einkommen</a:t>
            </a:r>
            <a:r>
              <a:rPr lang="de-DE" sz="1600" b="0"/>
              <a:t>)</a:t>
            </a:r>
          </a:p>
          <a:p>
            <a:r>
              <a:rPr lang="de-DE" sz="1600" b="0"/>
              <a:t>Horizontal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0"/>
              <a:t>Merkmale über die Traditionellen hinau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0"/>
              <a:t>In neueren Modellen berücksichtigt (z.B. Milieu-Ansätz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/>
              <a:t>„von links nach rechts“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0"/>
              <a:t>z.B. </a:t>
            </a:r>
            <a:r>
              <a:rPr lang="de-DE" sz="1600"/>
              <a:t>Alter, Herkunft, Geschlecht, ethnische Herkunf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800" b="0"/>
          </a:p>
          <a:p>
            <a:endParaRPr lang="de-DE" sz="1800" b="0"/>
          </a:p>
          <a:p>
            <a:pPr marL="342900" indent="-342900">
              <a:buAutoNum type="arabicPeriod"/>
            </a:pPr>
            <a:endParaRPr lang="de-DE" sz="1800" b="0"/>
          </a:p>
          <a:p>
            <a:pPr marL="342900" indent="-342900">
              <a:buAutoNum type="arabicPeriod"/>
            </a:pPr>
            <a:endParaRPr lang="de-DE" sz="1800" b="0"/>
          </a:p>
          <a:p>
            <a:pPr marL="342900" indent="-342900">
              <a:buAutoNum type="arabicPeriod"/>
            </a:pPr>
            <a:endParaRPr lang="de-DE" sz="1600" b="0"/>
          </a:p>
        </p:txBody>
      </p:sp>
    </p:spTree>
    <p:extLst>
      <p:ext uri="{BB962C8B-B14F-4D97-AF65-F5344CB8AC3E}">
        <p14:creationId xmlns:p14="http://schemas.microsoft.com/office/powerpoint/2010/main" val="33990352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>
    <p:ext uri="{3A86A75C-4F4B-4683-9AE1-C65F6400EC91}">
      <p14:laserTraceLst xmlns:p14="http://schemas.microsoft.com/office/powerpoint/2010/main">
        <p14:tracePtLst>
          <p14:tracePt t="993" x="9050338" y="2784475"/>
          <p14:tracePt t="1000" x="8934450" y="2811463"/>
          <p14:tracePt t="1008" x="8826500" y="2836863"/>
          <p14:tracePt t="1015" x="8755063" y="2863850"/>
          <p14:tracePt t="1024" x="8737600" y="2873375"/>
          <p14:tracePt t="1030" x="8616950" y="2949575"/>
          <p14:tracePt t="1038" x="8509000" y="3011488"/>
          <p14:tracePt t="1046" x="8432800" y="3065463"/>
          <p14:tracePt t="1052" x="8375650" y="3114675"/>
          <p14:tracePt t="1060" x="8316913" y="3168650"/>
          <p14:tracePt t="1067" x="8277225" y="3208338"/>
          <p14:tracePt t="1076" x="8223250" y="3267075"/>
          <p14:tracePt t="1082" x="8183563" y="3316288"/>
          <p14:tracePt t="1092" x="8147050" y="3355975"/>
          <p14:tracePt t="1097" x="8120063" y="3395663"/>
          <p14:tracePt t="1105" x="8107363" y="3417888"/>
          <p14:tracePt t="1113" x="8097838" y="3436938"/>
          <p14:tracePt t="1120" x="8089900" y="3449638"/>
          <p14:tracePt t="1128" x="8089900" y="3459163"/>
          <p14:tracePt t="1134" x="8085138" y="3471863"/>
          <p14:tracePt t="1141" x="8085138" y="3476625"/>
          <p14:tracePt t="1149" x="8085138" y="3486150"/>
          <p14:tracePt t="1164" x="8085138" y="3489325"/>
          <p14:tracePt t="1172" x="8085138" y="3494088"/>
          <p14:tracePt t="1187" x="8085138" y="3498850"/>
          <p14:tracePt t="35128" x="8043863" y="3417888"/>
          <p14:tracePt t="35135" x="8018463" y="3373438"/>
          <p14:tracePt t="35143" x="7999413" y="3346450"/>
          <p14:tracePt t="35151" x="7991475" y="3333750"/>
          <p14:tracePt t="35160" x="7981950" y="3324225"/>
          <p14:tracePt t="35165" x="7977188" y="3321050"/>
          <p14:tracePt t="35173" x="7969250" y="3311525"/>
          <p14:tracePt t="35180" x="7959725" y="3297238"/>
          <p14:tracePt t="35188" x="7920038" y="3222625"/>
          <p14:tracePt t="35196" x="7851775" y="3038475"/>
          <p14:tracePt t="35203" x="7821613" y="2940050"/>
          <p14:tracePt t="35210" x="7799388" y="2851150"/>
          <p14:tracePt t="35218" x="7762875" y="2708275"/>
          <p14:tracePt t="35225" x="7731125" y="2516188"/>
          <p14:tracePt t="35232" x="7700963" y="2336800"/>
          <p14:tracePt t="35241" x="7678738" y="2132013"/>
          <p14:tracePt t="35247" x="7642225" y="1935163"/>
          <p14:tracePt t="35255" x="7629525" y="1831975"/>
          <p14:tracePt t="35262" x="7610475" y="1716088"/>
          <p14:tracePt t="35270" x="7593013" y="1595438"/>
          <p14:tracePt t="35277" x="7580313" y="1506538"/>
          <p14:tracePt t="35285" x="7561263" y="1403350"/>
          <p14:tracePt t="35292" x="7548563" y="1300163"/>
          <p14:tracePt t="35299" x="7521575" y="1174750"/>
          <p14:tracePt t="35309" x="7508875" y="1085850"/>
          <p14:tracePt t="35315" x="7486650" y="1004888"/>
          <p14:tracePt t="35322" x="7459663" y="903288"/>
          <p14:tracePt t="35329" x="7440613" y="782638"/>
          <p14:tracePt t="35337" x="7427913" y="692150"/>
          <p14:tracePt t="35344" x="7427913" y="620713"/>
          <p14:tracePt t="35352" x="7427913" y="531813"/>
          <p14:tracePt t="35359" x="7432675" y="442913"/>
          <p14:tracePt t="35367" x="7445375" y="352425"/>
          <p14:tracePt t="35375" x="7467600" y="280988"/>
          <p14:tracePt t="35381" x="7499350" y="196850"/>
          <p14:tracePt t="35389" x="7499350" y="182563"/>
          <p14:tracePt t="35398" x="7504113" y="179388"/>
          <p14:tracePt t="35404" x="7504113" y="174625"/>
          <p14:tracePt t="35418" x="7504113" y="169863"/>
          <p14:tracePt t="36059" x="7624763" y="393700"/>
          <p14:tracePt t="36066" x="7624763" y="401638"/>
          <p14:tracePt t="36076" x="7785100" y="692150"/>
          <p14:tracePt t="36081" x="7834313" y="795338"/>
          <p14:tracePt t="36088" x="7920038" y="952500"/>
          <p14:tracePt t="36096" x="7991475" y="1108075"/>
          <p14:tracePt t="36103" x="8048625" y="1243013"/>
          <p14:tracePt t="36111" x="8097838" y="1376363"/>
          <p14:tracePt t="36118" x="8124825" y="1447800"/>
          <p14:tracePt t="36126" x="8164513" y="1524000"/>
          <p14:tracePt t="36133" x="8191500" y="1600200"/>
          <p14:tracePt t="36142" x="8213725" y="1654175"/>
          <p14:tracePt t="36148" x="8237538" y="1711325"/>
          <p14:tracePt t="36156" x="8262938" y="1751013"/>
          <p14:tracePt t="36163" x="8277225" y="1797050"/>
          <p14:tracePt t="36171" x="8294688" y="1836738"/>
          <p14:tracePt t="36178" x="8316913" y="1876425"/>
          <p14:tracePt t="36186" x="8331200" y="1917700"/>
          <p14:tracePt t="36192" x="8348663" y="1957388"/>
          <p14:tracePt t="36200" x="8361363" y="1992313"/>
          <p14:tracePt t="36210" x="8366125" y="2006600"/>
          <p14:tracePt t="36215" x="8380413" y="2041525"/>
          <p14:tracePt t="36223" x="8388350" y="2073275"/>
          <p14:tracePt t="36230" x="8393113" y="2087563"/>
          <p14:tracePt t="36237" x="8397875" y="2095500"/>
          <p14:tracePt t="36246" x="8397875" y="2105025"/>
          <p14:tracePt t="36252" x="8397875" y="2109788"/>
          <p14:tracePt t="36261" x="8397875" y="2112963"/>
          <p14:tracePt t="36276" x="8397875" y="2117725"/>
          <p14:tracePt t="36282" x="8397875" y="2122488"/>
          <p14:tracePt t="36297" x="8397875" y="2127250"/>
          <p14:tracePt t="36305" x="8397875" y="2132013"/>
          <p14:tracePt t="36327" x="8402638" y="2132013"/>
          <p14:tracePt t="36334" x="8405813" y="2132013"/>
          <p14:tracePt t="36342" x="8415338" y="2136775"/>
          <p14:tracePt t="36348" x="8424863" y="2136775"/>
          <p14:tracePt t="36357" x="8432800" y="2136775"/>
          <p14:tracePt t="36364" x="8442325" y="2139950"/>
          <p14:tracePt t="36371" x="8451850" y="2139950"/>
          <p14:tracePt t="36379" x="8459788" y="2139950"/>
          <p14:tracePt t="36387" x="8469313" y="2139950"/>
          <p14:tracePt t="36394" x="8482013" y="2139950"/>
          <p14:tracePt t="36401" x="8496300" y="2139950"/>
          <p14:tracePt t="36410" x="8518525" y="2139950"/>
          <p14:tracePt t="36416" x="8550275" y="2139950"/>
          <p14:tracePt t="36426" x="8594725" y="2149475"/>
          <p14:tracePt t="36431" x="8643938" y="2154238"/>
          <p14:tracePt t="36439" x="8678863" y="2162175"/>
          <p14:tracePt t="36446" x="8720138" y="2176463"/>
          <p14:tracePt t="36454" x="8755063" y="2185988"/>
          <p14:tracePt t="36461" x="8794750" y="2198688"/>
          <p14:tracePt t="36469" x="8826500" y="2225675"/>
          <p14:tracePt t="36476" x="8843963" y="2243138"/>
          <p14:tracePt t="36483" x="8870950" y="2274888"/>
          <p14:tracePt t="36493" x="8893175" y="2297113"/>
          <p14:tracePt t="36498" x="8902700" y="2319338"/>
          <p14:tracePt t="36506" x="8920163" y="2336800"/>
          <p14:tracePt t="36513" x="8924925" y="2346325"/>
          <p14:tracePt t="36521" x="8934450" y="2354263"/>
          <p14:tracePt t="36530" x="8937625" y="2359025"/>
          <p14:tracePt t="36535" x="8942388" y="2368550"/>
          <p14:tracePt t="36550" x="8947150" y="2368550"/>
          <p14:tracePt t="36559" x="8951913" y="2378075"/>
          <p14:tracePt t="36573" x="8956675" y="2386013"/>
          <p14:tracePt t="36580" x="8961438" y="2386013"/>
          <p14:tracePt t="36588" x="8964613" y="2395538"/>
          <p14:tracePt t="36595" x="8978900" y="2400300"/>
          <p14:tracePt t="36603" x="8991600" y="2413000"/>
          <p14:tracePt t="36610" x="9005888" y="2422525"/>
          <p14:tracePt t="36618" x="9023350" y="2430463"/>
          <p14:tracePt t="36627" x="9036050" y="2439988"/>
          <p14:tracePt t="36632" x="9059863" y="2452688"/>
          <p14:tracePt t="36640" x="9082088" y="2471738"/>
          <p14:tracePt t="36647" x="9121775" y="2479675"/>
        </p14:tracePtLst>
      </p14:laserTraceLst>
    </p:ext>
  </p:extLs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13B203F9-1E27-4E57-902E-B40C20ADA7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249518"/>
            <a:ext cx="7560000" cy="468000"/>
          </a:xfrm>
        </p:spPr>
        <p:txBody>
          <a:bodyPr anchor="t">
            <a:normAutofit/>
          </a:bodyPr>
          <a:lstStyle/>
          <a:p>
            <a:pPr>
              <a:lnSpc>
                <a:spcPct val="90000"/>
              </a:lnSpc>
            </a:pPr>
            <a:r>
              <a:rPr lang="de-DE"/>
              <a:t>Moderne Gesellschaft</a:t>
            </a:r>
            <a:endParaRPr lang="en-US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1AE0A09-480E-44F6-BDAB-8FE8A65C65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0000" y="4752000"/>
            <a:ext cx="6300000" cy="108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e-DE" sz="700"/>
              <a:t>Allgemeine Masterberatung | masterberatung@sowi.rub.de                                    Fakultät für Sozialwissenschaft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6F69610-9E3A-4D99-BF17-16DDE17C18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4000" y="4752000"/>
            <a:ext cx="252000" cy="108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6C8FC03C-C266-4645-ABC5-645062898383}" type="slidenum">
              <a:rPr lang="de-DE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16</a:t>
            </a:fld>
            <a:r>
              <a:rPr lang="de-DE" sz="700"/>
              <a:t> 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70F7C74-9112-406B-A0CC-08F6DDA1D2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4000" y="795670"/>
            <a:ext cx="8119686" cy="3756262"/>
          </a:xfrm>
        </p:spPr>
        <p:txBody>
          <a:bodyPr/>
          <a:lstStyle/>
          <a:p>
            <a:r>
              <a:rPr lang="de-DE" sz="1600" dirty="0"/>
              <a:t>Fünf Kennzeichen: </a:t>
            </a:r>
          </a:p>
          <a:p>
            <a:endParaRPr lang="de-DE" sz="1800" dirty="0"/>
          </a:p>
          <a:p>
            <a:r>
              <a:rPr lang="de-DE" sz="1800" b="0" dirty="0"/>
              <a:t>1) Hohen Grad an Arbeitsteilung</a:t>
            </a:r>
          </a:p>
          <a:p>
            <a:r>
              <a:rPr lang="de-DE" sz="1800" b="0" dirty="0"/>
              <a:t>2) Vollinklusion der Bevölkerung ins Bildungssystem </a:t>
            </a:r>
          </a:p>
          <a:p>
            <a:r>
              <a:rPr lang="de-DE" sz="1800" b="0" dirty="0"/>
              <a:t>3) Positiven Rechts zur Konfliktregelungsstrategie</a:t>
            </a:r>
          </a:p>
          <a:p>
            <a:r>
              <a:rPr lang="de-DE" sz="1800" b="0" dirty="0"/>
              <a:t>4)  Universalistische Werte</a:t>
            </a:r>
          </a:p>
          <a:p>
            <a:r>
              <a:rPr lang="de-DE" sz="1800" b="0" dirty="0"/>
              <a:t>5) Kapitalistische Organisation</a:t>
            </a:r>
          </a:p>
          <a:p>
            <a:r>
              <a:rPr lang="de-DE" sz="1800" b="0" dirty="0"/>
              <a:t>6) Bevorzugung demokratischen Staatsform </a:t>
            </a:r>
          </a:p>
          <a:p>
            <a:endParaRPr lang="de-DE" sz="1800" b="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800" b="0" dirty="0">
                <a:solidFill>
                  <a:schemeClr val="bg2"/>
                </a:solidFill>
              </a:rPr>
              <a:t>Benennen Sie mindestens fünf Kennzeichen einer modernen Gesellschaft</a:t>
            </a:r>
            <a:endParaRPr lang="de-DE" sz="1800" dirty="0"/>
          </a:p>
        </p:txBody>
      </p:sp>
    </p:spTree>
    <p:extLst>
      <p:ext uri="{BB962C8B-B14F-4D97-AF65-F5344CB8AC3E}">
        <p14:creationId xmlns:p14="http://schemas.microsoft.com/office/powerpoint/2010/main" val="3307257813"/>
      </p:ext>
    </p:extLst>
  </p:cSld>
  <p:clrMapOvr>
    <a:masterClrMapping/>
  </p:clrMapOvr>
  <p:extLst>
    <p:ext uri="{3A86A75C-4F4B-4683-9AE1-C65F6400EC91}">
      <p14:laserTraceLst xmlns:p14="http://schemas.microsoft.com/office/powerpoint/2010/main">
        <p14:tracePtLst>
          <p14:tracePt t="993" x="9050338" y="2784475"/>
          <p14:tracePt t="1000" x="8934450" y="2811463"/>
          <p14:tracePt t="1008" x="8826500" y="2836863"/>
          <p14:tracePt t="1015" x="8755063" y="2863850"/>
          <p14:tracePt t="1024" x="8737600" y="2873375"/>
          <p14:tracePt t="1030" x="8616950" y="2949575"/>
          <p14:tracePt t="1038" x="8509000" y="3011488"/>
          <p14:tracePt t="1046" x="8432800" y="3065463"/>
          <p14:tracePt t="1052" x="8375650" y="3114675"/>
          <p14:tracePt t="1060" x="8316913" y="3168650"/>
          <p14:tracePt t="1067" x="8277225" y="3208338"/>
          <p14:tracePt t="1076" x="8223250" y="3267075"/>
          <p14:tracePt t="1082" x="8183563" y="3316288"/>
          <p14:tracePt t="1092" x="8147050" y="3355975"/>
          <p14:tracePt t="1097" x="8120063" y="3395663"/>
          <p14:tracePt t="1105" x="8107363" y="3417888"/>
          <p14:tracePt t="1113" x="8097838" y="3436938"/>
          <p14:tracePt t="1120" x="8089900" y="3449638"/>
          <p14:tracePt t="1128" x="8089900" y="3459163"/>
          <p14:tracePt t="1134" x="8085138" y="3471863"/>
          <p14:tracePt t="1141" x="8085138" y="3476625"/>
          <p14:tracePt t="1149" x="8085138" y="3486150"/>
          <p14:tracePt t="1164" x="8085138" y="3489325"/>
          <p14:tracePt t="1172" x="8085138" y="3494088"/>
          <p14:tracePt t="1187" x="8085138" y="3498850"/>
          <p14:tracePt t="35128" x="8043863" y="3417888"/>
          <p14:tracePt t="35135" x="8018463" y="3373438"/>
          <p14:tracePt t="35143" x="7999413" y="3346450"/>
          <p14:tracePt t="35151" x="7991475" y="3333750"/>
          <p14:tracePt t="35160" x="7981950" y="3324225"/>
          <p14:tracePt t="35165" x="7977188" y="3321050"/>
          <p14:tracePt t="35173" x="7969250" y="3311525"/>
          <p14:tracePt t="35180" x="7959725" y="3297238"/>
          <p14:tracePt t="35188" x="7920038" y="3222625"/>
          <p14:tracePt t="35196" x="7851775" y="3038475"/>
          <p14:tracePt t="35203" x="7821613" y="2940050"/>
          <p14:tracePt t="35210" x="7799388" y="2851150"/>
          <p14:tracePt t="35218" x="7762875" y="2708275"/>
          <p14:tracePt t="35225" x="7731125" y="2516188"/>
          <p14:tracePt t="35232" x="7700963" y="2336800"/>
          <p14:tracePt t="35241" x="7678738" y="2132013"/>
          <p14:tracePt t="35247" x="7642225" y="1935163"/>
          <p14:tracePt t="35255" x="7629525" y="1831975"/>
          <p14:tracePt t="35262" x="7610475" y="1716088"/>
          <p14:tracePt t="35270" x="7593013" y="1595438"/>
          <p14:tracePt t="35277" x="7580313" y="1506538"/>
          <p14:tracePt t="35285" x="7561263" y="1403350"/>
          <p14:tracePt t="35292" x="7548563" y="1300163"/>
          <p14:tracePt t="35299" x="7521575" y="1174750"/>
          <p14:tracePt t="35309" x="7508875" y="1085850"/>
          <p14:tracePt t="35315" x="7486650" y="1004888"/>
          <p14:tracePt t="35322" x="7459663" y="903288"/>
          <p14:tracePt t="35329" x="7440613" y="782638"/>
          <p14:tracePt t="35337" x="7427913" y="692150"/>
          <p14:tracePt t="35344" x="7427913" y="620713"/>
          <p14:tracePt t="35352" x="7427913" y="531813"/>
          <p14:tracePt t="35359" x="7432675" y="442913"/>
          <p14:tracePt t="35367" x="7445375" y="352425"/>
          <p14:tracePt t="35375" x="7467600" y="280988"/>
          <p14:tracePt t="35381" x="7499350" y="196850"/>
          <p14:tracePt t="35389" x="7499350" y="182563"/>
          <p14:tracePt t="35398" x="7504113" y="179388"/>
          <p14:tracePt t="35404" x="7504113" y="174625"/>
          <p14:tracePt t="35418" x="7504113" y="169863"/>
          <p14:tracePt t="36059" x="7624763" y="393700"/>
          <p14:tracePt t="36066" x="7624763" y="401638"/>
          <p14:tracePt t="36076" x="7785100" y="692150"/>
          <p14:tracePt t="36081" x="7834313" y="795338"/>
          <p14:tracePt t="36088" x="7920038" y="952500"/>
          <p14:tracePt t="36096" x="7991475" y="1108075"/>
          <p14:tracePt t="36103" x="8048625" y="1243013"/>
          <p14:tracePt t="36111" x="8097838" y="1376363"/>
          <p14:tracePt t="36118" x="8124825" y="1447800"/>
          <p14:tracePt t="36126" x="8164513" y="1524000"/>
          <p14:tracePt t="36133" x="8191500" y="1600200"/>
          <p14:tracePt t="36142" x="8213725" y="1654175"/>
          <p14:tracePt t="36148" x="8237538" y="1711325"/>
          <p14:tracePt t="36156" x="8262938" y="1751013"/>
          <p14:tracePt t="36163" x="8277225" y="1797050"/>
          <p14:tracePt t="36171" x="8294688" y="1836738"/>
          <p14:tracePt t="36178" x="8316913" y="1876425"/>
          <p14:tracePt t="36186" x="8331200" y="1917700"/>
          <p14:tracePt t="36192" x="8348663" y="1957388"/>
          <p14:tracePt t="36200" x="8361363" y="1992313"/>
          <p14:tracePt t="36210" x="8366125" y="2006600"/>
          <p14:tracePt t="36215" x="8380413" y="2041525"/>
          <p14:tracePt t="36223" x="8388350" y="2073275"/>
          <p14:tracePt t="36230" x="8393113" y="2087563"/>
          <p14:tracePt t="36237" x="8397875" y="2095500"/>
          <p14:tracePt t="36246" x="8397875" y="2105025"/>
          <p14:tracePt t="36252" x="8397875" y="2109788"/>
          <p14:tracePt t="36261" x="8397875" y="2112963"/>
          <p14:tracePt t="36276" x="8397875" y="2117725"/>
          <p14:tracePt t="36282" x="8397875" y="2122488"/>
          <p14:tracePt t="36297" x="8397875" y="2127250"/>
          <p14:tracePt t="36305" x="8397875" y="2132013"/>
          <p14:tracePt t="36327" x="8402638" y="2132013"/>
          <p14:tracePt t="36334" x="8405813" y="2132013"/>
          <p14:tracePt t="36342" x="8415338" y="2136775"/>
          <p14:tracePt t="36348" x="8424863" y="2136775"/>
          <p14:tracePt t="36357" x="8432800" y="2136775"/>
          <p14:tracePt t="36364" x="8442325" y="2139950"/>
          <p14:tracePt t="36371" x="8451850" y="2139950"/>
          <p14:tracePt t="36379" x="8459788" y="2139950"/>
          <p14:tracePt t="36387" x="8469313" y="2139950"/>
          <p14:tracePt t="36394" x="8482013" y="2139950"/>
          <p14:tracePt t="36401" x="8496300" y="2139950"/>
          <p14:tracePt t="36410" x="8518525" y="2139950"/>
          <p14:tracePt t="36416" x="8550275" y="2139950"/>
          <p14:tracePt t="36426" x="8594725" y="2149475"/>
          <p14:tracePt t="36431" x="8643938" y="2154238"/>
          <p14:tracePt t="36439" x="8678863" y="2162175"/>
          <p14:tracePt t="36446" x="8720138" y="2176463"/>
          <p14:tracePt t="36454" x="8755063" y="2185988"/>
          <p14:tracePt t="36461" x="8794750" y="2198688"/>
          <p14:tracePt t="36469" x="8826500" y="2225675"/>
          <p14:tracePt t="36476" x="8843963" y="2243138"/>
          <p14:tracePt t="36483" x="8870950" y="2274888"/>
          <p14:tracePt t="36493" x="8893175" y="2297113"/>
          <p14:tracePt t="36498" x="8902700" y="2319338"/>
          <p14:tracePt t="36506" x="8920163" y="2336800"/>
          <p14:tracePt t="36513" x="8924925" y="2346325"/>
          <p14:tracePt t="36521" x="8934450" y="2354263"/>
          <p14:tracePt t="36530" x="8937625" y="2359025"/>
          <p14:tracePt t="36535" x="8942388" y="2368550"/>
          <p14:tracePt t="36550" x="8947150" y="2368550"/>
          <p14:tracePt t="36559" x="8951913" y="2378075"/>
          <p14:tracePt t="36573" x="8956675" y="2386013"/>
          <p14:tracePt t="36580" x="8961438" y="2386013"/>
          <p14:tracePt t="36588" x="8964613" y="2395538"/>
          <p14:tracePt t="36595" x="8978900" y="2400300"/>
          <p14:tracePt t="36603" x="8991600" y="2413000"/>
          <p14:tracePt t="36610" x="9005888" y="2422525"/>
          <p14:tracePt t="36618" x="9023350" y="2430463"/>
          <p14:tracePt t="36627" x="9036050" y="2439988"/>
          <p14:tracePt t="36632" x="9059863" y="2452688"/>
          <p14:tracePt t="36640" x="9082088" y="2471738"/>
          <p14:tracePt t="36647" x="9121775" y="2479675"/>
        </p14:tracePtLst>
      </p14:laserTraceLst>
    </p:ext>
  </p:extLs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chemeClr val="bg2"/>
                </a:solidFill>
              </a:rPr>
              <a:t>Lernziele</a:t>
            </a:r>
            <a:r>
              <a:rPr lang="de-DE" dirty="0"/>
              <a:t>: erste Sitzung I VL. (0) und (1)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000" y="918000"/>
            <a:ext cx="9000544" cy="3366000"/>
          </a:xfrm>
        </p:spPr>
        <p:txBody>
          <a:bodyPr/>
          <a:lstStyle/>
          <a:p>
            <a:pPr>
              <a:lnSpc>
                <a:spcPct val="100000"/>
              </a:lnSpc>
            </a:pPr>
            <a:endParaRPr lang="de-DE" sz="1800" b="0" strike="sngStrike">
              <a:sym typeface="Wingdings" panose="05000000000000000000" pitchFamily="2" charset="2"/>
            </a:endParaRPr>
          </a:p>
          <a:p>
            <a:pPr>
              <a:lnSpc>
                <a:spcPct val="200000"/>
              </a:lnSpc>
            </a:pPr>
            <a:endParaRPr lang="de-DE" sz="1800" b="0">
              <a:sym typeface="Wingdings" panose="05000000000000000000" pitchFamily="2" charset="2"/>
            </a:endParaRPr>
          </a:p>
          <a:p>
            <a:pPr marL="171450" indent="-171450">
              <a:lnSpc>
                <a:spcPct val="200000"/>
              </a:lnSpc>
              <a:buFont typeface="Arial" panose="020B0604020202020204" pitchFamily="34" charset="0"/>
              <a:buChar char="•"/>
            </a:pPr>
            <a:endParaRPr lang="de-DE" sz="1800" b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800" b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800" b="0"/>
          </a:p>
          <a:p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utorien Sozialstruktur und sozialer Wandel | stina.</a:t>
            </a:r>
            <a:r>
              <a:rPr lang="de-DE" err="1"/>
              <a:t>runtemund</a:t>
            </a:r>
            <a:r>
              <a:rPr lang="de-DE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17</a:t>
            </a:fld>
            <a:r>
              <a:rPr lang="de-DE"/>
              <a:t> 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28CD78BF-FD21-4273-AC08-8CC747F9071D}"/>
              </a:ext>
            </a:extLst>
          </p:cNvPr>
          <p:cNvSpPr txBox="1"/>
          <p:nvPr/>
        </p:nvSpPr>
        <p:spPr>
          <a:xfrm>
            <a:off x="379110" y="918000"/>
            <a:ext cx="8296889" cy="29495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de-DE" sz="1800">
                <a:solidFill>
                  <a:schemeClr val="tx2"/>
                </a:solidFill>
              </a:rPr>
              <a:t>Was wurde heute erarbeitet…?</a:t>
            </a:r>
          </a:p>
          <a:p>
            <a:pPr>
              <a:lnSpc>
                <a:spcPct val="150000"/>
              </a:lnSpc>
            </a:pPr>
            <a:endParaRPr lang="de-DE" sz="1800">
              <a:solidFill>
                <a:schemeClr val="tx2"/>
              </a:solidFill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800">
                <a:solidFill>
                  <a:schemeClr val="tx2"/>
                </a:solidFill>
              </a:rPr>
              <a:t>Eine </a:t>
            </a:r>
            <a:r>
              <a:rPr lang="de-DE" sz="1800" b="1">
                <a:solidFill>
                  <a:schemeClr val="tx2"/>
                </a:solidFill>
              </a:rPr>
              <a:t>Definition</a:t>
            </a:r>
            <a:r>
              <a:rPr lang="de-DE" sz="1800">
                <a:solidFill>
                  <a:schemeClr val="tx2"/>
                </a:solidFill>
              </a:rPr>
              <a:t> von </a:t>
            </a:r>
            <a:r>
              <a:rPr lang="de-DE" sz="1800" b="1">
                <a:solidFill>
                  <a:schemeClr val="tx2"/>
                </a:solidFill>
              </a:rPr>
              <a:t>Sozialstruktur</a:t>
            </a:r>
            <a:r>
              <a:rPr lang="de-DE" sz="1800">
                <a:solidFill>
                  <a:schemeClr val="tx2"/>
                </a:solidFill>
              </a:rPr>
              <a:t> kennen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800" b="1">
                <a:solidFill>
                  <a:schemeClr val="tx2"/>
                </a:solidFill>
              </a:rPr>
              <a:t>Merkmale</a:t>
            </a:r>
            <a:r>
              <a:rPr lang="de-DE" sz="1800">
                <a:solidFill>
                  <a:schemeClr val="tx2"/>
                </a:solidFill>
              </a:rPr>
              <a:t> der Sozialstruktur auflisten können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800" b="1">
                <a:solidFill>
                  <a:schemeClr val="tx2"/>
                </a:solidFill>
              </a:rPr>
              <a:t>Verknüpfung</a:t>
            </a:r>
            <a:r>
              <a:rPr lang="de-DE" sz="1800">
                <a:solidFill>
                  <a:schemeClr val="tx2"/>
                </a:solidFill>
              </a:rPr>
              <a:t> zwischen </a:t>
            </a:r>
            <a:r>
              <a:rPr lang="de-DE" sz="1800" b="1">
                <a:solidFill>
                  <a:schemeClr val="tx2"/>
                </a:solidFill>
              </a:rPr>
              <a:t>Sozialstruktur und Gesellschaft </a:t>
            </a:r>
            <a:r>
              <a:rPr lang="de-DE" sz="1800">
                <a:solidFill>
                  <a:schemeClr val="tx2"/>
                </a:solidFill>
              </a:rPr>
              <a:t>benennen können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800" b="1">
                <a:solidFill>
                  <a:schemeClr val="tx2"/>
                </a:solidFill>
              </a:rPr>
              <a:t>Vertikale</a:t>
            </a:r>
            <a:r>
              <a:rPr lang="de-DE" sz="1800">
                <a:solidFill>
                  <a:schemeClr val="tx2"/>
                </a:solidFill>
              </a:rPr>
              <a:t> und </a:t>
            </a:r>
            <a:r>
              <a:rPr lang="de-DE" sz="1800" b="1">
                <a:solidFill>
                  <a:schemeClr val="tx2"/>
                </a:solidFill>
              </a:rPr>
              <a:t>Horizontale</a:t>
            </a:r>
            <a:r>
              <a:rPr lang="de-DE" sz="1800">
                <a:solidFill>
                  <a:schemeClr val="tx2"/>
                </a:solidFill>
              </a:rPr>
              <a:t> Analysedimensionen </a:t>
            </a:r>
            <a:r>
              <a:rPr lang="de-DE" sz="1800" b="1">
                <a:solidFill>
                  <a:schemeClr val="tx2"/>
                </a:solidFill>
              </a:rPr>
              <a:t>unterscheiden</a:t>
            </a:r>
            <a:r>
              <a:rPr lang="de-DE" sz="1800">
                <a:solidFill>
                  <a:schemeClr val="tx2"/>
                </a:solidFill>
              </a:rPr>
              <a:t> können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800" b="1">
                <a:solidFill>
                  <a:schemeClr val="tx2"/>
                </a:solidFill>
              </a:rPr>
              <a:t>Merkmale</a:t>
            </a:r>
            <a:r>
              <a:rPr lang="de-DE" sz="1800">
                <a:solidFill>
                  <a:schemeClr val="tx2"/>
                </a:solidFill>
              </a:rPr>
              <a:t> der </a:t>
            </a:r>
            <a:r>
              <a:rPr lang="de-DE" sz="1800" b="1">
                <a:solidFill>
                  <a:schemeClr val="tx2"/>
                </a:solidFill>
              </a:rPr>
              <a:t>modernen Gesellschaft </a:t>
            </a:r>
            <a:r>
              <a:rPr lang="de-DE" sz="1800">
                <a:solidFill>
                  <a:schemeClr val="tx2"/>
                </a:solidFill>
              </a:rPr>
              <a:t>benennen können</a:t>
            </a:r>
          </a:p>
        </p:txBody>
      </p:sp>
    </p:spTree>
    <p:extLst>
      <p:ext uri="{BB962C8B-B14F-4D97-AF65-F5344CB8AC3E}">
        <p14:creationId xmlns:p14="http://schemas.microsoft.com/office/powerpoint/2010/main" val="38649195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Ausblick: nächste Sitzung 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000" y="918000"/>
            <a:ext cx="8280464" cy="3366000"/>
          </a:xfrm>
        </p:spPr>
        <p:txBody>
          <a:bodyPr/>
          <a:lstStyle/>
          <a:p>
            <a:pPr>
              <a:lnSpc>
                <a:spcPct val="100000"/>
              </a:lnSpc>
            </a:pPr>
            <a:endParaRPr lang="de-DE" sz="1800" b="0" strike="sngStrike">
              <a:sym typeface="Wingdings" panose="05000000000000000000" pitchFamily="2" charset="2"/>
            </a:endParaRPr>
          </a:p>
          <a:p>
            <a:pPr>
              <a:lnSpc>
                <a:spcPct val="200000"/>
              </a:lnSpc>
            </a:pPr>
            <a:endParaRPr lang="de-DE" sz="1800" b="0">
              <a:sym typeface="Wingdings" panose="05000000000000000000" pitchFamily="2" charset="2"/>
            </a:endParaRPr>
          </a:p>
          <a:p>
            <a:pPr marL="171450" indent="-171450">
              <a:lnSpc>
                <a:spcPct val="200000"/>
              </a:lnSpc>
              <a:buFont typeface="Arial" panose="020B0604020202020204" pitchFamily="34" charset="0"/>
              <a:buChar char="•"/>
            </a:pPr>
            <a:endParaRPr lang="de-DE" sz="1800" b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800" b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800" b="0"/>
          </a:p>
          <a:p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utorien Sozialstruktur und sozialer Wandel | stina.</a:t>
            </a:r>
            <a:r>
              <a:rPr lang="de-DE" err="1"/>
              <a:t>runtemund</a:t>
            </a:r>
            <a:r>
              <a:rPr lang="de-DE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18</a:t>
            </a:fld>
            <a:r>
              <a:rPr lang="de-DE"/>
              <a:t> 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28CD78BF-FD21-4273-AC08-8CC747F9071D}"/>
              </a:ext>
            </a:extLst>
          </p:cNvPr>
          <p:cNvSpPr txBox="1"/>
          <p:nvPr/>
        </p:nvSpPr>
        <p:spPr>
          <a:xfrm>
            <a:off x="537190" y="1059582"/>
            <a:ext cx="7421619" cy="2949525"/>
          </a:xfrm>
          <a:prstGeom prst="rect">
            <a:avLst/>
          </a:prstGeom>
          <a:noFill/>
        </p:spPr>
        <p:txBody>
          <a:bodyPr wrap="square" numCol="1">
            <a:spAutoFit/>
          </a:bodyPr>
          <a:lstStyle/>
          <a:p>
            <a:pPr>
              <a:lnSpc>
                <a:spcPct val="150000"/>
              </a:lnSpc>
            </a:pPr>
            <a:r>
              <a:rPr lang="de-DE" sz="1800" dirty="0">
                <a:solidFill>
                  <a:schemeClr val="tx2"/>
                </a:solidFill>
              </a:rPr>
              <a:t>Was kommt…?</a:t>
            </a:r>
          </a:p>
          <a:p>
            <a:pPr>
              <a:lnSpc>
                <a:spcPct val="150000"/>
              </a:lnSpc>
            </a:pPr>
            <a:endParaRPr lang="de-DE" sz="1800" dirty="0">
              <a:solidFill>
                <a:schemeClr val="tx2"/>
              </a:solidFill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800" b="1" dirty="0">
                <a:solidFill>
                  <a:schemeClr val="tx2"/>
                </a:solidFill>
              </a:rPr>
              <a:t>Staatsformen</a:t>
            </a:r>
            <a:r>
              <a:rPr lang="de-DE" sz="1800" dirty="0">
                <a:solidFill>
                  <a:schemeClr val="tx2"/>
                </a:solidFill>
              </a:rPr>
              <a:t> moderne Gesellschaft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800" b="1" dirty="0">
                <a:solidFill>
                  <a:schemeClr val="tx2"/>
                </a:solidFill>
              </a:rPr>
              <a:t>Historische</a:t>
            </a:r>
            <a:r>
              <a:rPr lang="de-DE" sz="1800" dirty="0">
                <a:solidFill>
                  <a:schemeClr val="tx2"/>
                </a:solidFill>
              </a:rPr>
              <a:t> </a:t>
            </a:r>
            <a:r>
              <a:rPr lang="de-DE" sz="1800" b="1" dirty="0">
                <a:solidFill>
                  <a:schemeClr val="tx2"/>
                </a:solidFill>
              </a:rPr>
              <a:t>Verortung</a:t>
            </a:r>
            <a:r>
              <a:rPr lang="de-DE" sz="1800" dirty="0">
                <a:solidFill>
                  <a:schemeClr val="tx2"/>
                </a:solidFill>
              </a:rPr>
              <a:t> der Moderne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800" b="1" dirty="0">
                <a:solidFill>
                  <a:schemeClr val="tx2"/>
                </a:solidFill>
              </a:rPr>
              <a:t>Räumliche</a:t>
            </a:r>
            <a:r>
              <a:rPr lang="de-DE" sz="1800" dirty="0">
                <a:solidFill>
                  <a:schemeClr val="tx2"/>
                </a:solidFill>
              </a:rPr>
              <a:t> Verortung der Moderne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800" b="1" dirty="0">
                <a:solidFill>
                  <a:schemeClr val="tx2"/>
                </a:solidFill>
              </a:rPr>
              <a:t>Sozialstrukturanalyse</a:t>
            </a:r>
            <a:r>
              <a:rPr lang="de-DE" sz="1800" dirty="0">
                <a:solidFill>
                  <a:schemeClr val="tx2"/>
                </a:solidFill>
              </a:rPr>
              <a:t> verstehen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800" dirty="0">
                <a:solidFill>
                  <a:schemeClr val="tx2"/>
                </a:solidFill>
              </a:rPr>
              <a:t>Sozialstruktur mit </a:t>
            </a:r>
            <a:r>
              <a:rPr lang="de-DE" sz="1800" b="1" dirty="0">
                <a:solidFill>
                  <a:schemeClr val="tx2"/>
                </a:solidFill>
              </a:rPr>
              <a:t>Datenarten</a:t>
            </a:r>
            <a:r>
              <a:rPr lang="de-DE" sz="1800" dirty="0">
                <a:solidFill>
                  <a:schemeClr val="tx2"/>
                </a:solidFill>
              </a:rPr>
              <a:t> und </a:t>
            </a:r>
            <a:r>
              <a:rPr lang="de-DE" sz="1800" b="1" dirty="0">
                <a:solidFill>
                  <a:schemeClr val="tx2"/>
                </a:solidFill>
              </a:rPr>
              <a:t>Datenquellen</a:t>
            </a:r>
            <a:endParaRPr lang="de-DE" sz="1600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641367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Kontak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000" y="1018021"/>
            <a:ext cx="8496488" cy="3579958"/>
          </a:xfrm>
        </p:spPr>
        <p:txBody>
          <a:bodyPr/>
          <a:lstStyle/>
          <a:p>
            <a:endParaRPr lang="de-DE" sz="1800"/>
          </a:p>
          <a:p>
            <a:r>
              <a:rPr lang="de-DE" sz="1800"/>
              <a:t>Dozentin:</a:t>
            </a:r>
          </a:p>
          <a:p>
            <a:r>
              <a:rPr lang="de-DE" sz="1800" b="0"/>
              <a:t>Prof. Dr. Heike Kahlert</a:t>
            </a:r>
          </a:p>
          <a:p>
            <a:r>
              <a:rPr lang="fr-FR" sz="1800" b="0"/>
              <a:t>Email: Heike.Kahlert@rub.de</a:t>
            </a:r>
            <a:endParaRPr lang="de-DE" sz="1800"/>
          </a:p>
          <a:p>
            <a:pPr>
              <a:lnSpc>
                <a:spcPct val="100000"/>
              </a:lnSpc>
            </a:pPr>
            <a:r>
              <a:rPr lang="de-DE" sz="1800"/>
              <a:t>Tutorin:</a:t>
            </a:r>
          </a:p>
          <a:p>
            <a:r>
              <a:rPr lang="de-DE" sz="1800" b="0"/>
              <a:t>Stina Lilli </a:t>
            </a:r>
            <a:r>
              <a:rPr lang="de-DE" sz="1800" b="0" err="1"/>
              <a:t>Runtemund</a:t>
            </a:r>
            <a:endParaRPr lang="de-DE" sz="1800" b="0"/>
          </a:p>
          <a:p>
            <a:r>
              <a:rPr lang="fr-FR" sz="1800" b="0"/>
              <a:t>Email: Stina.runtemund@rub.de </a:t>
            </a:r>
            <a:r>
              <a:rPr lang="fr-FR" sz="1800" b="0">
                <a:sym typeface="Wingdings" panose="05000000000000000000" pitchFamily="2" charset="2"/>
              </a:rPr>
              <a:t> per Mail </a:t>
            </a:r>
            <a:r>
              <a:rPr lang="fr-FR" sz="1800" b="0" err="1">
                <a:sym typeface="Wingdings" panose="05000000000000000000" pitchFamily="2" charset="2"/>
              </a:rPr>
              <a:t>erreichbar</a:t>
            </a:r>
            <a:r>
              <a:rPr lang="fr-FR" sz="1800" b="0">
                <a:sym typeface="Wingdings" panose="05000000000000000000" pitchFamily="2" charset="2"/>
              </a:rPr>
              <a:t> </a:t>
            </a:r>
            <a:endParaRPr lang="de-DE" sz="180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utorien Sozialstruktur und sozialer Wandel | stina.</a:t>
            </a:r>
            <a:r>
              <a:rPr lang="de-DE" err="1"/>
              <a:t>runtemund</a:t>
            </a:r>
            <a:r>
              <a:rPr lang="de-DE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2</a:t>
            </a:fld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211437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err="1"/>
              <a:t>Moodle</a:t>
            </a:r>
            <a:r>
              <a:rPr lang="de-DE"/>
              <a:t> Kur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000" y="1018021"/>
            <a:ext cx="8496488" cy="3579958"/>
          </a:xfrm>
        </p:spPr>
        <p:txBody>
          <a:bodyPr/>
          <a:lstStyle/>
          <a:p>
            <a:pPr algn="ctr">
              <a:lnSpc>
                <a:spcPct val="100000"/>
              </a:lnSpc>
            </a:pPr>
            <a:endParaRPr lang="de-DE" sz="2600" b="0" i="0">
              <a:solidFill>
                <a:srgbClr val="8DAE10"/>
              </a:solidFill>
              <a:effectLst/>
            </a:endParaRPr>
          </a:p>
          <a:p>
            <a:pPr algn="ctr">
              <a:lnSpc>
                <a:spcPct val="100000"/>
              </a:lnSpc>
            </a:pPr>
            <a:r>
              <a:rPr lang="de-DE" sz="3200" b="0" i="0">
                <a:solidFill>
                  <a:srgbClr val="8DAE10"/>
                </a:solidFill>
                <a:effectLst/>
                <a:latin typeface="-apple-system"/>
              </a:rPr>
              <a:t>Ü Strukturierte Betreuung (</a:t>
            </a:r>
            <a:r>
              <a:rPr lang="de-DE" sz="3200" b="0" i="0" err="1">
                <a:solidFill>
                  <a:srgbClr val="8DAE10"/>
                </a:solidFill>
                <a:effectLst/>
                <a:latin typeface="-apple-system"/>
              </a:rPr>
              <a:t>Soz</a:t>
            </a:r>
            <a:r>
              <a:rPr lang="de-DE" sz="3200" b="0" i="0">
                <a:solidFill>
                  <a:srgbClr val="8DAE10"/>
                </a:solidFill>
                <a:effectLst/>
                <a:latin typeface="-apple-system"/>
              </a:rPr>
              <a:t>, Teil III; </a:t>
            </a:r>
            <a:r>
              <a:rPr lang="de-DE" sz="3200" b="0" i="0" err="1">
                <a:solidFill>
                  <a:srgbClr val="8DAE10"/>
                </a:solidFill>
                <a:effectLst/>
                <a:latin typeface="-apple-system"/>
              </a:rPr>
              <a:t>SozStrukt</a:t>
            </a:r>
            <a:r>
              <a:rPr lang="de-DE" sz="3200" b="0" i="0">
                <a:solidFill>
                  <a:srgbClr val="8DAE10"/>
                </a:solidFill>
                <a:effectLst/>
                <a:latin typeface="-apple-system"/>
              </a:rPr>
              <a:t>, Teil III) (080105a-WS 22/23)</a:t>
            </a:r>
          </a:p>
          <a:p>
            <a:pPr algn="ctr">
              <a:lnSpc>
                <a:spcPct val="100000"/>
              </a:lnSpc>
            </a:pPr>
            <a:endParaRPr lang="de-DE" sz="2600" b="0" i="0">
              <a:solidFill>
                <a:srgbClr val="8DAE10"/>
              </a:solidFill>
              <a:effectLst/>
            </a:endParaRPr>
          </a:p>
          <a:p>
            <a:pPr algn="ctr">
              <a:lnSpc>
                <a:spcPct val="100000"/>
              </a:lnSpc>
            </a:pPr>
            <a:r>
              <a:rPr lang="de-DE" sz="2600" i="0">
                <a:solidFill>
                  <a:srgbClr val="8DAE10"/>
                </a:solidFill>
                <a:effectLst/>
              </a:rPr>
              <a:t>Ohne Passwort: </a:t>
            </a:r>
            <a:endParaRPr lang="de-DE" sz="260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utorien Sozialstruktur und sozialer Wandel | stina.</a:t>
            </a:r>
            <a:r>
              <a:rPr lang="de-DE" err="1"/>
              <a:t>runtemund</a:t>
            </a:r>
            <a:r>
              <a:rPr lang="de-DE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3</a:t>
            </a:fld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06230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Formalitä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000" y="918000"/>
            <a:ext cx="8280464" cy="3366000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>
                <a:solidFill>
                  <a:srgbClr val="222222"/>
                </a:solidFill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de-DE" sz="1800" b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Die Tutorien finden in Präsenz statt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b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de-DE" sz="1800" b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080105a: Mittwoch, 12.10.2022, 13:</a:t>
            </a:r>
            <a:r>
              <a:rPr lang="de-DE" sz="1800" b="0">
                <a:solidFill>
                  <a:srgbClr val="FF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0</a:t>
            </a:r>
            <a:r>
              <a:rPr lang="de-DE" sz="1800" b="0">
                <a:solidFill>
                  <a:srgbClr val="FF0000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0- 14:00</a:t>
            </a:r>
            <a:r>
              <a:rPr lang="de-DE" sz="1800" b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Uhr </a:t>
            </a:r>
            <a:r>
              <a:rPr lang="de-DE" sz="1800" b="0">
                <a:ea typeface="Calibri" panose="020F0502020204030204" pitchFamily="34" charset="0"/>
                <a:cs typeface="Times New Roman" panose="02020603050405020304" pitchFamily="18" charset="0"/>
              </a:rPr>
              <a:t>in Raum GD E01/141</a:t>
            </a:r>
            <a:endParaRPr lang="de-DE" sz="1800" b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de-DE" sz="1800" b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080105b: Mittwoch, </a:t>
            </a:r>
            <a:r>
              <a:rPr lang="de-DE" sz="1800" b="0">
                <a:ea typeface="Calibri" panose="020F0502020204030204" pitchFamily="34" charset="0"/>
                <a:cs typeface="Times New Roman" panose="02020603050405020304" pitchFamily="18" charset="0"/>
              </a:rPr>
              <a:t>12</a:t>
            </a:r>
            <a:r>
              <a:rPr lang="de-DE" sz="1800" b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.10.2022, 14:</a:t>
            </a:r>
            <a:r>
              <a:rPr lang="de-DE" sz="1800" b="0">
                <a:solidFill>
                  <a:srgbClr val="FF0000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00</a:t>
            </a:r>
            <a:r>
              <a:rPr lang="de-DE" sz="1800" b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-</a:t>
            </a:r>
            <a:r>
              <a:rPr lang="de-DE" sz="1800" b="0">
                <a:solidFill>
                  <a:srgbClr val="FF0000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15:00</a:t>
            </a:r>
            <a:r>
              <a:rPr lang="de-DE" sz="1800" b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Uhr in Raum </a:t>
            </a:r>
            <a:r>
              <a:rPr lang="de-DE" sz="1800" b="0">
                <a:ea typeface="Calibri" panose="020F0502020204030204" pitchFamily="34" charset="0"/>
                <a:cs typeface="Times New Roman" panose="02020603050405020304" pitchFamily="18" charset="0"/>
              </a:rPr>
              <a:t>GD </a:t>
            </a:r>
            <a:r>
              <a:rPr lang="de-DE" sz="1800" b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E2/1236</a:t>
            </a: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080105c: Freitag, </a:t>
            </a:r>
            <a:r>
              <a:rPr lang="de-DE" sz="1800" b="0">
                <a:ea typeface="Calibri" panose="020F0502020204030204" pitchFamily="34" charset="0"/>
                <a:cs typeface="Times New Roman" panose="02020603050405020304" pitchFamily="18" charset="0"/>
              </a:rPr>
              <a:t>14</a:t>
            </a:r>
            <a:r>
              <a:rPr lang="de-DE" sz="1800" b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.10.2022, </a:t>
            </a:r>
            <a:r>
              <a:rPr lang="de-DE" sz="1800" b="0">
                <a:ea typeface="Calibri" panose="020F0502020204030204" pitchFamily="34" charset="0"/>
                <a:cs typeface="Times New Roman" panose="02020603050405020304" pitchFamily="18" charset="0"/>
              </a:rPr>
              <a:t>8</a:t>
            </a:r>
            <a:r>
              <a:rPr lang="de-DE" sz="1800" b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de-DE" sz="1800" b="0">
                <a:solidFill>
                  <a:srgbClr val="FF0000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3</a:t>
            </a:r>
            <a:r>
              <a:rPr lang="de-DE" sz="1800" b="0">
                <a:solidFill>
                  <a:srgbClr val="FF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0 – 09:30 </a:t>
            </a:r>
            <a:r>
              <a:rPr lang="de-DE" sz="1800" b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Uhr Online (mit Kamerapflicht!)</a:t>
            </a: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>
                <a:ea typeface="Calibri" panose="020F0502020204030204" pitchFamily="34" charset="0"/>
                <a:cs typeface="Times New Roman" panose="02020603050405020304" pitchFamily="18" charset="0"/>
              </a:rPr>
              <a:t>Zoom-Link: </a:t>
            </a:r>
            <a:r>
              <a:rPr lang="de-DE" sz="1800" b="0">
                <a:ea typeface="Calibri" panose="020F0502020204030204" pitchFamily="34" charset="0"/>
                <a:cs typeface="Times New Roman" panose="02020603050405020304" pitchFamily="18" charset="0"/>
                <a:sym typeface="Wingdings" panose="05000000000000000000" pitchFamily="2" charset="2"/>
              </a:rPr>
              <a:t>https://ruhr-uni-bochum.zoom.us/j/64883985716?pwd=SXNkMFhYaWlqYjV4Nmx2eExmN2hFZz09#success</a:t>
            </a:r>
            <a:endParaRPr lang="de-DE" sz="1800" b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de-DE" sz="1800" b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utorien Sozialstruktur und sozialer Wandel | stina.</a:t>
            </a:r>
            <a:r>
              <a:rPr lang="de-DE" err="1"/>
              <a:t>runtemund</a:t>
            </a:r>
            <a:r>
              <a:rPr lang="de-DE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4</a:t>
            </a:fld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7628524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Formalitäten: </a:t>
            </a:r>
            <a:r>
              <a:rPr lang="de-DE" err="1"/>
              <a:t>Optionalbereich</a:t>
            </a:r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000" y="918000"/>
            <a:ext cx="8280464" cy="3366000"/>
          </a:xfrm>
        </p:spPr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de-DE" sz="1800" b="0"/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800" b="0"/>
              <a:t>Für den </a:t>
            </a:r>
            <a:r>
              <a:rPr lang="de-DE" sz="1800" b="0" err="1"/>
              <a:t>Optionalbereich</a:t>
            </a:r>
            <a:r>
              <a:rPr lang="de-DE" sz="1800" b="0"/>
              <a:t> gilt Anwesenheitspflicht (mit Anwesenheitsliste)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800" b="0"/>
              <a:t>Leistung: In </a:t>
            </a:r>
            <a:r>
              <a:rPr lang="de-DE" sz="1800"/>
              <a:t>5 Sitzungen Lernziele </a:t>
            </a:r>
            <a:r>
              <a:rPr lang="de-DE" sz="1800" b="0"/>
              <a:t>aus </a:t>
            </a:r>
            <a:r>
              <a:rPr lang="de-DE" sz="1800" b="0" err="1"/>
              <a:t>Moodle</a:t>
            </a:r>
            <a:r>
              <a:rPr lang="de-DE" sz="1800" b="0"/>
              <a:t>-Kurs </a:t>
            </a:r>
            <a:r>
              <a:rPr lang="de-DE" sz="1800"/>
              <a:t>beantworten</a:t>
            </a:r>
            <a:r>
              <a:rPr lang="de-DE" sz="1800" b="0"/>
              <a:t> 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800" b="0"/>
              <a:t>Jeweils mind</a:t>
            </a:r>
            <a:r>
              <a:rPr lang="de-DE" sz="1800"/>
              <a:t>. ein Tag VOR der jeweiligen Sitzung </a:t>
            </a:r>
            <a:r>
              <a:rPr lang="de-DE" sz="1800" b="0"/>
              <a:t>abgeben 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800" b="0"/>
              <a:t>Per </a:t>
            </a:r>
            <a:r>
              <a:rPr lang="de-DE" sz="1800"/>
              <a:t>PDF Datei </a:t>
            </a:r>
            <a:r>
              <a:rPr lang="de-DE" sz="1800" b="0"/>
              <a:t>per Mail (Nachname + Matrikelnummer)</a:t>
            </a:r>
          </a:p>
          <a:p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utorien Sozialstruktur und sozialer Wandel | stina.</a:t>
            </a:r>
            <a:r>
              <a:rPr lang="de-DE" err="1"/>
              <a:t>runtemund</a:t>
            </a:r>
            <a:r>
              <a:rPr lang="de-DE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5</a:t>
            </a:fld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52875316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Formalitäten: Klausur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000" y="1095574"/>
            <a:ext cx="8280464" cy="3188426"/>
          </a:xfrm>
        </p:spPr>
        <p:txBody>
          <a:bodyPr/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800" b="0"/>
              <a:t>Abschluss der Vorlesung mit Klausur (in Präsenz)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800" b="0"/>
              <a:t>Relevant: </a:t>
            </a:r>
            <a:r>
              <a:rPr lang="de-DE" sz="1800"/>
              <a:t>Vorlesungsinhalte</a:t>
            </a:r>
            <a:r>
              <a:rPr lang="de-DE" sz="1800" b="0"/>
              <a:t> und (Basis)-</a:t>
            </a:r>
            <a:r>
              <a:rPr lang="de-DE" sz="1800"/>
              <a:t>Literatur</a:t>
            </a:r>
            <a:r>
              <a:rPr lang="de-DE" sz="1800" b="0"/>
              <a:t> und </a:t>
            </a:r>
            <a:r>
              <a:rPr lang="de-DE" sz="1800"/>
              <a:t>Tutorium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800" b="0"/>
              <a:t>Format: Offene Fragen (Definitionen, Konzepte und Zusammenhänge)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800" b="0">
                <a:sym typeface="Wingdings" panose="05000000000000000000" pitchFamily="2" charset="2"/>
              </a:rPr>
              <a:t>Klausurtermin: Do 09.02.2023 10 - 12 Uhr HGA 20</a:t>
            </a:r>
            <a:endParaRPr lang="de-DE" sz="1800" b="0">
              <a:solidFill>
                <a:srgbClr val="FF0000"/>
              </a:solidFill>
              <a:sym typeface="Wingdings" panose="05000000000000000000" pitchFamily="2" charset="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800" b="0">
                <a:sym typeface="Wingdings" panose="05000000000000000000" pitchFamily="2" charset="2"/>
              </a:rPr>
              <a:t>Nachschreibetermin: Do 30.03.2023 10 – 12 HGA 30</a:t>
            </a:r>
            <a:endParaRPr lang="de-DE" sz="1800" b="0">
              <a:solidFill>
                <a:srgbClr val="FF0000"/>
              </a:solidFill>
              <a:sym typeface="Wingdings" panose="05000000000000000000" pitchFamily="2" charset="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sz="1800" b="0">
              <a:sym typeface="Wingdings" panose="05000000000000000000" pitchFamily="2" charset="2"/>
            </a:endParaRPr>
          </a:p>
          <a:p>
            <a:pPr marL="171450" indent="-171450">
              <a:lnSpc>
                <a:spcPct val="200000"/>
              </a:lnSpc>
              <a:buFont typeface="Arial" panose="020B0604020202020204" pitchFamily="34" charset="0"/>
              <a:buChar char="•"/>
            </a:pPr>
            <a:endParaRPr lang="de-DE" sz="1800" b="0">
              <a:sym typeface="Wingdings" panose="05000000000000000000" pitchFamily="2" charset="2"/>
            </a:endParaRPr>
          </a:p>
          <a:p>
            <a:pPr marL="171450" indent="-171450">
              <a:lnSpc>
                <a:spcPct val="200000"/>
              </a:lnSpc>
              <a:buFont typeface="Arial" panose="020B0604020202020204" pitchFamily="34" charset="0"/>
              <a:buChar char="•"/>
            </a:pPr>
            <a:endParaRPr lang="de-DE" sz="1800" b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800" b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800" b="0"/>
          </a:p>
          <a:p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utorien Sozialstruktur und sozialer Wandel | stina.</a:t>
            </a:r>
            <a:r>
              <a:rPr lang="de-DE" err="1"/>
              <a:t>runtemund</a:t>
            </a:r>
            <a:r>
              <a:rPr lang="de-DE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6</a:t>
            </a:fld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7932212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Ablauf Tutorium: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000" y="1131590"/>
            <a:ext cx="8280464" cy="3152410"/>
          </a:xfrm>
        </p:spPr>
        <p:txBody>
          <a:bodyPr/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800" b="0" strike="sngStrike">
                <a:sym typeface="Wingdings" panose="05000000000000000000" pitchFamily="2" charset="2"/>
              </a:rPr>
              <a:t>Vortrag</a:t>
            </a:r>
            <a:r>
              <a:rPr lang="de-DE" sz="1800" b="0">
                <a:sym typeface="Wingdings" panose="05000000000000000000" pitchFamily="2" charset="2"/>
              </a:rPr>
              <a:t>  Interaktion 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800" b="0">
                <a:sym typeface="Wingdings" panose="05000000000000000000" pitchFamily="2" charset="2"/>
              </a:rPr>
              <a:t>1) Vorlesungsverständnis vertiefen 2) Frage stellen 3) </a:t>
            </a:r>
            <a:r>
              <a:rPr lang="de-DE" sz="1800">
                <a:sym typeface="Wingdings" panose="05000000000000000000" pitchFamily="2" charset="2"/>
              </a:rPr>
              <a:t>Klausurvorbereitung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800">
                <a:sym typeface="Wingdings" panose="05000000000000000000" pitchFamily="2" charset="2"/>
              </a:rPr>
              <a:t>Vorlesungsaufzeichnungen</a:t>
            </a:r>
            <a:r>
              <a:rPr lang="de-DE" sz="1800" b="0">
                <a:sym typeface="Wingdings" panose="05000000000000000000" pitchFamily="2" charset="2"/>
              </a:rPr>
              <a:t> anhören 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800" b="0">
                <a:sym typeface="Wingdings" panose="05000000000000000000" pitchFamily="2" charset="2"/>
              </a:rPr>
              <a:t>Folien im Nachgang ans dritte Tutorium im </a:t>
            </a:r>
            <a:r>
              <a:rPr lang="de-DE" sz="1800" b="0" err="1">
                <a:sym typeface="Wingdings" panose="05000000000000000000" pitchFamily="2" charset="2"/>
              </a:rPr>
              <a:t>Moodle</a:t>
            </a:r>
            <a:r>
              <a:rPr lang="de-DE" sz="1800" b="0">
                <a:sym typeface="Wingdings" panose="05000000000000000000" pitchFamily="2" charset="2"/>
              </a:rPr>
              <a:t> hochgeladen (</a:t>
            </a:r>
            <a:r>
              <a:rPr lang="de-DE" sz="1800">
                <a:sym typeface="Wingdings" panose="05000000000000000000" pitchFamily="2" charset="2"/>
              </a:rPr>
              <a:t>Fr. Mittag)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800" b="0">
                <a:sym typeface="Wingdings" panose="05000000000000000000" pitchFamily="2" charset="2"/>
              </a:rPr>
              <a:t>Ausblick: Begriffe / Themen nächster Stunde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800">
                <a:sym typeface="Wingdings" panose="05000000000000000000" pitchFamily="2" charset="2"/>
              </a:rPr>
              <a:t>Lernziele</a:t>
            </a:r>
            <a:r>
              <a:rPr lang="de-DE" sz="1800" b="0">
                <a:sym typeface="Wingdings" panose="05000000000000000000" pitchFamily="2" charset="2"/>
              </a:rPr>
              <a:t> </a:t>
            </a:r>
          </a:p>
          <a:p>
            <a:pPr marL="171450" indent="-171450">
              <a:lnSpc>
                <a:spcPct val="200000"/>
              </a:lnSpc>
              <a:buFont typeface="Arial" panose="020B0604020202020204" pitchFamily="34" charset="0"/>
              <a:buChar char="•"/>
            </a:pPr>
            <a:endParaRPr lang="de-DE" sz="1800" b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800" b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800" b="0"/>
          </a:p>
          <a:p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utorien Sozialstruktur und sozialer Wandel | stina.</a:t>
            </a:r>
            <a:r>
              <a:rPr lang="de-DE" err="1"/>
              <a:t>runtemund</a:t>
            </a:r>
            <a:r>
              <a:rPr lang="de-DE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7</a:t>
            </a:fld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045763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Fragestellung der VL.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000" y="1131590"/>
            <a:ext cx="8280464" cy="3152410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de-DE" sz="1800" b="0">
                <a:sym typeface="Wingdings" panose="05000000000000000000" pitchFamily="2" charset="2"/>
              </a:rPr>
              <a:t>Überblick über: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800" b="0">
                <a:sym typeface="Wingdings" panose="05000000000000000000" pitchFamily="2" charset="2"/>
              </a:rPr>
              <a:t>Grundbegriffe, Theorien und Empirie 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800" b="0">
                <a:sym typeface="Wingdings" panose="05000000000000000000" pitchFamily="2" charset="2"/>
              </a:rPr>
              <a:t>der </a:t>
            </a:r>
            <a:r>
              <a:rPr lang="de-DE" sz="1800">
                <a:sym typeface="Wingdings" panose="05000000000000000000" pitchFamily="2" charset="2"/>
              </a:rPr>
              <a:t>Sozialstruktur</a:t>
            </a:r>
            <a:r>
              <a:rPr lang="de-DE" sz="1800" b="0">
                <a:sym typeface="Wingdings" panose="05000000000000000000" pitchFamily="2" charset="2"/>
              </a:rPr>
              <a:t> und des </a:t>
            </a:r>
            <a:r>
              <a:rPr lang="de-DE" sz="1800">
                <a:sym typeface="Wingdings" panose="05000000000000000000" pitchFamily="2" charset="2"/>
              </a:rPr>
              <a:t>sozialen Wandels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800" b="0">
                <a:sym typeface="Wingdings" panose="05000000000000000000" pitchFamily="2" charset="2"/>
              </a:rPr>
              <a:t>am Beispiel </a:t>
            </a:r>
            <a:r>
              <a:rPr lang="de-DE" sz="1800">
                <a:sym typeface="Wingdings" panose="05000000000000000000" pitchFamily="2" charset="2"/>
              </a:rPr>
              <a:t>Deutschlands</a:t>
            </a:r>
            <a:r>
              <a:rPr lang="de-DE" sz="1800" b="0">
                <a:sym typeface="Wingdings" panose="05000000000000000000" pitchFamily="2" charset="2"/>
              </a:rPr>
              <a:t> 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800">
                <a:sym typeface="Wingdings" panose="05000000000000000000" pitchFamily="2" charset="2"/>
              </a:rPr>
              <a:t>Gegenwartsgesellschaft</a:t>
            </a:r>
          </a:p>
          <a:p>
            <a:pPr marL="171450" indent="-171450">
              <a:lnSpc>
                <a:spcPct val="200000"/>
              </a:lnSpc>
              <a:buFont typeface="Arial" panose="020B0604020202020204" pitchFamily="34" charset="0"/>
              <a:buChar char="•"/>
            </a:pPr>
            <a:endParaRPr lang="de-DE" sz="1800" b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800" b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800" b="0"/>
          </a:p>
          <a:p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utorien Sozialstruktur und sozialer Wandel | stina.</a:t>
            </a:r>
            <a:r>
              <a:rPr lang="de-DE" err="1"/>
              <a:t>runtemund</a:t>
            </a:r>
            <a:r>
              <a:rPr lang="de-DE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8</a:t>
            </a:fld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4873755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000" y="995545"/>
            <a:ext cx="8280464" cy="3152410"/>
          </a:xfrm>
        </p:spPr>
        <p:txBody>
          <a:bodyPr/>
          <a:lstStyle/>
          <a:p>
            <a:pPr algn="ctr">
              <a:lnSpc>
                <a:spcPct val="150000"/>
              </a:lnSpc>
            </a:pPr>
            <a:endParaRPr lang="de-DE" sz="1800">
              <a:sym typeface="Wingdings" panose="05000000000000000000" pitchFamily="2" charset="2"/>
            </a:endParaRPr>
          </a:p>
          <a:p>
            <a:pPr algn="ctr">
              <a:lnSpc>
                <a:spcPct val="150000"/>
              </a:lnSpc>
            </a:pPr>
            <a:endParaRPr lang="de-DE" sz="1800">
              <a:sym typeface="Wingdings" panose="05000000000000000000" pitchFamily="2" charset="2"/>
            </a:endParaRPr>
          </a:p>
          <a:p>
            <a:pPr algn="ctr">
              <a:lnSpc>
                <a:spcPct val="150000"/>
              </a:lnSpc>
            </a:pPr>
            <a:r>
              <a:rPr lang="de-DE" sz="2600">
                <a:sym typeface="Wingdings" panose="05000000000000000000" pitchFamily="2" charset="2"/>
              </a:rPr>
              <a:t>Thematischer Einstieg</a:t>
            </a:r>
          </a:p>
          <a:p>
            <a:pPr marL="171450" indent="-171450">
              <a:lnSpc>
                <a:spcPct val="200000"/>
              </a:lnSpc>
              <a:buFont typeface="Arial" panose="020B0604020202020204" pitchFamily="34" charset="0"/>
              <a:buChar char="•"/>
            </a:pPr>
            <a:endParaRPr lang="de-DE" sz="1800" b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800" b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800" b="0"/>
          </a:p>
          <a:p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utorien Sozialstruktur und sozialer Wandel | stina.</a:t>
            </a:r>
            <a:r>
              <a:rPr lang="de-DE" err="1"/>
              <a:t>runtemund</a:t>
            </a:r>
            <a:r>
              <a:rPr lang="de-DE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9</a:t>
            </a:fld>
            <a:r>
              <a:rPr lang="de-DE"/>
              <a:t> </a:t>
            </a:r>
          </a:p>
        </p:txBody>
      </p:sp>
      <p:sp>
        <p:nvSpPr>
          <p:cNvPr id="2" name="Sprechblase: rechteckig mit abgerundeten Ecken 1">
            <a:extLst>
              <a:ext uri="{FF2B5EF4-FFF2-40B4-BE49-F238E27FC236}">
                <a16:creationId xmlns:a16="http://schemas.microsoft.com/office/drawing/2014/main" id="{3D47684E-3117-6D14-1659-EC3837B17561}"/>
              </a:ext>
            </a:extLst>
          </p:cNvPr>
          <p:cNvSpPr/>
          <p:nvPr/>
        </p:nvSpPr>
        <p:spPr>
          <a:xfrm>
            <a:off x="5436096" y="995545"/>
            <a:ext cx="1656184" cy="778924"/>
          </a:xfrm>
          <a:prstGeom prst="wedgeRoundRectCallout">
            <a:avLst>
              <a:gd name="adj1" fmla="val -20833"/>
              <a:gd name="adj2" fmla="val 62500"/>
              <a:gd name="adj3" fmla="val 16667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/>
              <a:t>Idee?</a:t>
            </a:r>
          </a:p>
        </p:txBody>
      </p:sp>
    </p:spTree>
    <p:extLst>
      <p:ext uri="{BB962C8B-B14F-4D97-AF65-F5344CB8AC3E}">
        <p14:creationId xmlns:p14="http://schemas.microsoft.com/office/powerpoint/2010/main" val="15303236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2dcae5b4-0b45-41e0-b5e6-32c713f6a487"/>
  <p:tag name="MIO_EKGUID" val="d6d8f022-aea9-4976-9c74-231287008c88"/>
  <p:tag name="MIO_UPDATE" val="True"/>
  <p:tag name="MIO_VERSION" val="26.10.2018 15:45:09"/>
  <p:tag name="MIO_DBID" val="364BA404-45B5-45E1-875B-889C83467CBF"/>
  <p:tag name="MIO_LASTDOWNLOADED" val="26.10.2018 15:45:09"/>
  <p:tag name="MIO_OBJECTNAME" val="ADAPTION – Migration zum Cyber-physischen PRODUKTIONSSYSTEM"/>
  <p:tag name="MIO_LASTEDITORNAME" val="Stefan Leineweber"/>
  <p:tag name="MIO_STRING_IGNORE_CHECKSUM_FOR_NEXT_SAVE" val="Fals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V2" val="empowerBulletV2"/>
</p:tagLst>
</file>

<file path=ppt/theme/theme1.xml><?xml version="1.0" encoding="utf-8"?>
<a:theme xmlns:a="http://schemas.openxmlformats.org/drawingml/2006/main" name="PowerPoint Master RUB">
  <a:themeElements>
    <a:clrScheme name="RUB">
      <a:dk1>
        <a:sysClr val="windowText" lastClr="000000"/>
      </a:dk1>
      <a:lt1>
        <a:sysClr val="window" lastClr="FFFFFF"/>
      </a:lt1>
      <a:dk2>
        <a:srgbClr val="003560"/>
      </a:dk2>
      <a:lt2>
        <a:srgbClr val="8DAE10"/>
      </a:lt2>
      <a:accent1>
        <a:srgbClr val="FFCC00"/>
      </a:accent1>
      <a:accent2>
        <a:srgbClr val="EE7203"/>
      </a:accent2>
      <a:accent3>
        <a:srgbClr val="E6332A"/>
      </a:accent3>
      <a:accent4>
        <a:srgbClr val="B71E3F"/>
      </a:accent4>
      <a:accent5>
        <a:srgbClr val="9C5516"/>
      </a:accent5>
      <a:accent6>
        <a:srgbClr val="59211C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PT_RUB_03a.potx" id="{C867D821-36E8-4CDA-B68D-4949E463F39D}" vid="{F84F8B3F-9528-42A9-B5AE-3004D5414502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960</Words>
  <Application>Microsoft Office PowerPoint</Application>
  <PresentationFormat>Bildschirmpräsentation (16:9)</PresentationFormat>
  <Paragraphs>189</Paragraphs>
  <Slides>18</Slides>
  <Notes>1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8</vt:i4>
      </vt:variant>
    </vt:vector>
  </HeadingPairs>
  <TitlesOfParts>
    <vt:vector size="25" baseType="lpstr">
      <vt:lpstr>-apple-system</vt:lpstr>
      <vt:lpstr>Arial</vt:lpstr>
      <vt:lpstr>Calibri</vt:lpstr>
      <vt:lpstr>Calibri-Bold</vt:lpstr>
      <vt:lpstr>Segoe UI</vt:lpstr>
      <vt:lpstr>Wingdings</vt:lpstr>
      <vt:lpstr>PowerPoint Master RUB</vt:lpstr>
      <vt:lpstr>Willkommen im Tutorium zur VL. Sitzung (0) und (1)  </vt:lpstr>
      <vt:lpstr>Kontakt</vt:lpstr>
      <vt:lpstr>Moodle Kurs</vt:lpstr>
      <vt:lpstr>Formalitäten</vt:lpstr>
      <vt:lpstr>Formalitäten: Optionalbereich</vt:lpstr>
      <vt:lpstr>Formalitäten: Klausur</vt:lpstr>
      <vt:lpstr>Ablauf Tutorium:</vt:lpstr>
      <vt:lpstr>Fragestellung der VL.</vt:lpstr>
      <vt:lpstr>PowerPoint-Präsentation</vt:lpstr>
      <vt:lpstr>Sozialstruktur?</vt:lpstr>
      <vt:lpstr>Merkmale Sozialstruktur</vt:lpstr>
      <vt:lpstr>Sozialstruktur?</vt:lpstr>
      <vt:lpstr>Grundlagen:</vt:lpstr>
      <vt:lpstr>Analysedimensionen:</vt:lpstr>
      <vt:lpstr>Vertikal und horizontale Analysemerkmale</vt:lpstr>
      <vt:lpstr>Moderne Gesellschaft</vt:lpstr>
      <vt:lpstr>Lernziele: erste Sitzung I VL. (0) und (1)</vt:lpstr>
      <vt:lpstr>Ausblick: nächste Sitzung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ster Sozialwissenschaft</dc:title>
  <dc:creator>vanessa rau</dc:creator>
  <cp:lastModifiedBy>Stina Ru</cp:lastModifiedBy>
  <cp:revision>3</cp:revision>
  <cp:lastPrinted>2022-04-21T15:49:35Z</cp:lastPrinted>
  <dcterms:created xsi:type="dcterms:W3CDTF">2020-06-22T16:14:58Z</dcterms:created>
  <dcterms:modified xsi:type="dcterms:W3CDTF">2022-10-25T12:16:30Z</dcterms:modified>
</cp:coreProperties>
</file>